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4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68" r:id="rId4"/>
    <p:sldMasterId id="2147483660" r:id="rId5"/>
    <p:sldMasterId id="2147483693" r:id="rId6"/>
    <p:sldMasterId id="2147483903" r:id="rId7"/>
    <p:sldMasterId id="2147483931" r:id="rId8"/>
  </p:sldMasterIdLst>
  <p:notesMasterIdLst>
    <p:notesMasterId r:id="rId16"/>
  </p:notesMasterIdLst>
  <p:sldIdLst>
    <p:sldId id="340" r:id="rId9"/>
    <p:sldId id="351" r:id="rId10"/>
    <p:sldId id="352" r:id="rId11"/>
    <p:sldId id="343" r:id="rId12"/>
    <p:sldId id="347" r:id="rId13"/>
    <p:sldId id="350" r:id="rId14"/>
    <p:sldId id="349" r:id="rId15"/>
  </p:sldIdLst>
  <p:sldSz cx="9906000" cy="6858000" type="A4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yazami-Adli Mohamed" initials="EM" lastIdx="1" clrIdx="0">
    <p:extLst>
      <p:ext uri="{19B8F6BF-5375-455C-9EA6-DF929625EA0E}">
        <p15:presenceInfo xmlns:p15="http://schemas.microsoft.com/office/powerpoint/2012/main" userId="S-1-5-21-383200802-4186732323-4104849335-52109" providerId="AD"/>
      </p:ext>
    </p:extLst>
  </p:cmAuthor>
  <p:cmAuthor id="2" name="Harouche Nadia" initials="HN" lastIdx="1" clrIdx="1">
    <p:extLst>
      <p:ext uri="{19B8F6BF-5375-455C-9EA6-DF929625EA0E}">
        <p15:presenceInfo xmlns:p15="http://schemas.microsoft.com/office/powerpoint/2012/main" userId="S::nadia.harouche@csmaroc.gfi.fr::4ebcfa52-f785-4bd8-817d-ccbf72961ec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C2C4"/>
    <a:srgbClr val="ABA1A4"/>
    <a:srgbClr val="F57100"/>
    <a:srgbClr val="C0E947"/>
    <a:srgbClr val="82DD46"/>
    <a:srgbClr val="4DCE47"/>
    <a:srgbClr val="D4FE22"/>
    <a:srgbClr val="FFB04C"/>
    <a:srgbClr val="49BE6D"/>
    <a:srgbClr val="A9D1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E92A8D-5C25-D133-8FAF-046E30D643EC}" v="11" dt="2022-02-11T14:58:06.955"/>
    <p1510:client id="{2C1F3B60-04E6-435A-8EA0-BC7A89CCD903}" v="1" dt="2021-04-12T11:12:44.360"/>
    <p1510:client id="{314F0898-C9FA-4D91-B623-5DFD2D43EB9B}" v="1401" dt="2019-10-08T12:46:31.352"/>
    <p1510:client id="{3D8CB2CA-1B02-394B-BD28-AAA440221936}" v="4" dt="2022-02-11T11:18:23.773"/>
    <p1510:client id="{A04C8C0C-AFF3-8024-33F4-367C079B0408}" v="1583" dt="2022-02-11T14:56:16.583"/>
    <p1510:client id="{DCB8688D-D4E5-43A4-8FBB-026E13ABC623}" v="36" dt="2022-02-15T13:38:27.2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4" d="100"/>
          <a:sy n="154" d="100"/>
        </p:scale>
        <p:origin x="1638" y="13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mila Naoufel" userId="S::naoufel.hamila@inetum.com::e965c851-6e2b-4d98-9bc8-c6a9879c5eb9" providerId="AD" clId="Web-{14E92A8D-5C25-D133-8FAF-046E30D643EC}"/>
    <pc:docChg chg="modSld">
      <pc:chgData name="Hamila Naoufel" userId="S::naoufel.hamila@inetum.com::e965c851-6e2b-4d98-9bc8-c6a9879c5eb9" providerId="AD" clId="Web-{14E92A8D-5C25-D133-8FAF-046E30D643EC}" dt="2022-02-11T14:58:06.580" v="6" actId="20577"/>
      <pc:docMkLst>
        <pc:docMk/>
      </pc:docMkLst>
      <pc:sldChg chg="modSp">
        <pc:chgData name="Hamila Naoufel" userId="S::naoufel.hamila@inetum.com::e965c851-6e2b-4d98-9bc8-c6a9879c5eb9" providerId="AD" clId="Web-{14E92A8D-5C25-D133-8FAF-046E30D643EC}" dt="2022-02-11T14:58:06.580" v="6" actId="20577"/>
        <pc:sldMkLst>
          <pc:docMk/>
          <pc:sldMk cId="3993593284" sldId="340"/>
        </pc:sldMkLst>
        <pc:spChg chg="mod">
          <ac:chgData name="Hamila Naoufel" userId="S::naoufel.hamila@inetum.com::e965c851-6e2b-4d98-9bc8-c6a9879c5eb9" providerId="AD" clId="Web-{14E92A8D-5C25-D133-8FAF-046E30D643EC}" dt="2022-02-11T14:58:06.580" v="6" actId="20577"/>
          <ac:spMkLst>
            <pc:docMk/>
            <pc:sldMk cId="3993593284" sldId="340"/>
            <ac:spMk id="8" creationId="{74BED62A-1F67-42F3-94E9-47A023C4CB15}"/>
          </ac:spMkLst>
        </pc:spChg>
      </pc:sldChg>
    </pc:docChg>
  </pc:docChgLst>
  <pc:docChgLst>
    <pc:chgData name="Hamila Naoufel" userId="S::naoufel.hamila@inetum.com::e965c851-6e2b-4d98-9bc8-c6a9879c5eb9" providerId="AD" clId="Web-{DCB8688D-D4E5-43A4-8FBB-026E13ABC623}"/>
    <pc:docChg chg="modSld">
      <pc:chgData name="Hamila Naoufel" userId="S::naoufel.hamila@inetum.com::e965c851-6e2b-4d98-9bc8-c6a9879c5eb9" providerId="AD" clId="Web-{DCB8688D-D4E5-43A4-8FBB-026E13ABC623}" dt="2022-02-15T13:38:23.142" v="18" actId="20577"/>
      <pc:docMkLst>
        <pc:docMk/>
      </pc:docMkLst>
      <pc:sldChg chg="addSp delSp modSp">
        <pc:chgData name="Hamila Naoufel" userId="S::naoufel.hamila@inetum.com::e965c851-6e2b-4d98-9bc8-c6a9879c5eb9" providerId="AD" clId="Web-{DCB8688D-D4E5-43A4-8FBB-026E13ABC623}" dt="2022-02-15T13:38:23.142" v="18" actId="20577"/>
        <pc:sldMkLst>
          <pc:docMk/>
          <pc:sldMk cId="2119362846" sldId="347"/>
        </pc:sldMkLst>
        <pc:spChg chg="add del">
          <ac:chgData name="Hamila Naoufel" userId="S::naoufel.hamila@inetum.com::e965c851-6e2b-4d98-9bc8-c6a9879c5eb9" providerId="AD" clId="Web-{DCB8688D-D4E5-43A4-8FBB-026E13ABC623}" dt="2022-02-15T13:37:42.750" v="4"/>
          <ac:spMkLst>
            <pc:docMk/>
            <pc:sldMk cId="2119362846" sldId="347"/>
            <ac:spMk id="6" creationId="{CEBBE52B-E83F-41D1-895B-2E99B45B8397}"/>
          </ac:spMkLst>
        </pc:spChg>
        <pc:spChg chg="mod">
          <ac:chgData name="Hamila Naoufel" userId="S::naoufel.hamila@inetum.com::e965c851-6e2b-4d98-9bc8-c6a9879c5eb9" providerId="AD" clId="Web-{DCB8688D-D4E5-43A4-8FBB-026E13ABC623}" dt="2022-02-15T13:38:23.142" v="18" actId="20577"/>
          <ac:spMkLst>
            <pc:docMk/>
            <pc:sldMk cId="2119362846" sldId="347"/>
            <ac:spMk id="17" creationId="{3E6CCAE8-7618-43AD-9807-300B07A64376}"/>
          </ac:spMkLst>
        </pc:spChg>
      </pc:sldChg>
    </pc:docChg>
  </pc:docChgLst>
  <pc:docChgLst>
    <pc:chgData name="Hamila Naoufel" userId="S::naoufel.hamila@inetum.com::e965c851-6e2b-4d98-9bc8-c6a9879c5eb9" providerId="AD" clId="Web-{A04C8C0C-AFF3-8024-33F4-367C079B0408}"/>
    <pc:docChg chg="addSld delSld modSld sldOrd addMainMaster modMainMaster">
      <pc:chgData name="Hamila Naoufel" userId="S::naoufel.hamila@inetum.com::e965c851-6e2b-4d98-9bc8-c6a9879c5eb9" providerId="AD" clId="Web-{A04C8C0C-AFF3-8024-33F4-367C079B0408}" dt="2022-02-11T14:56:16.583" v="1342"/>
      <pc:docMkLst>
        <pc:docMk/>
      </pc:docMkLst>
      <pc:sldChg chg="modSp del">
        <pc:chgData name="Hamila Naoufel" userId="S::naoufel.hamila@inetum.com::e965c851-6e2b-4d98-9bc8-c6a9879c5eb9" providerId="AD" clId="Web-{A04C8C0C-AFF3-8024-33F4-367C079B0408}" dt="2022-02-11T12:48:07.840" v="641"/>
        <pc:sldMkLst>
          <pc:docMk/>
          <pc:sldMk cId="3878340761" sldId="339"/>
        </pc:sldMkLst>
        <pc:graphicFrameChg chg="mod modGraphic">
          <ac:chgData name="Hamila Naoufel" userId="S::naoufel.hamila@inetum.com::e965c851-6e2b-4d98-9bc8-c6a9879c5eb9" providerId="AD" clId="Web-{A04C8C0C-AFF3-8024-33F4-367C079B0408}" dt="2022-02-11T11:27:35.680" v="140"/>
          <ac:graphicFrameMkLst>
            <pc:docMk/>
            <pc:sldMk cId="3878340761" sldId="339"/>
            <ac:graphicFrameMk id="8" creationId="{8C26ABAE-75EC-4E28-B284-801C9A41D8C7}"/>
          </ac:graphicFrameMkLst>
        </pc:graphicFrameChg>
      </pc:sldChg>
      <pc:sldChg chg="addSp delSp modSp add ord">
        <pc:chgData name="Hamila Naoufel" userId="S::naoufel.hamila@inetum.com::e965c851-6e2b-4d98-9bc8-c6a9879c5eb9" providerId="AD" clId="Web-{A04C8C0C-AFF3-8024-33F4-367C079B0408}" dt="2022-02-11T14:56:16.583" v="1342"/>
        <pc:sldMkLst>
          <pc:docMk/>
          <pc:sldMk cId="3993593284" sldId="340"/>
        </pc:sldMkLst>
        <pc:spChg chg="add del mod">
          <ac:chgData name="Hamila Naoufel" userId="S::naoufel.hamila@inetum.com::e965c851-6e2b-4d98-9bc8-c6a9879c5eb9" providerId="AD" clId="Web-{A04C8C0C-AFF3-8024-33F4-367C079B0408}" dt="2022-02-11T14:56:16.583" v="1342"/>
          <ac:spMkLst>
            <pc:docMk/>
            <pc:sldMk cId="3993593284" sldId="340"/>
            <ac:spMk id="2" creationId="{EA7C6431-70A1-47E2-9D9A-704296BD37FE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1:24:50.661" v="15" actId="20577"/>
          <ac:spMkLst>
            <pc:docMk/>
            <pc:sldMk cId="3993593284" sldId="340"/>
            <ac:spMk id="8" creationId="{74BED62A-1F67-42F3-94E9-47A023C4CB15}"/>
          </ac:spMkLst>
        </pc:spChg>
      </pc:sldChg>
      <pc:sldChg chg="addSp delSp modSp add del ord replId">
        <pc:chgData name="Hamila Naoufel" userId="S::naoufel.hamila@inetum.com::e965c851-6e2b-4d98-9bc8-c6a9879c5eb9" providerId="AD" clId="Web-{A04C8C0C-AFF3-8024-33F4-367C079B0408}" dt="2022-02-11T12:47:26.417" v="523"/>
        <pc:sldMkLst>
          <pc:docMk/>
          <pc:sldMk cId="1289447915" sldId="341"/>
        </pc:sldMkLst>
        <pc:spChg chg="mod">
          <ac:chgData name="Hamila Naoufel" userId="S::naoufel.hamila@inetum.com::e965c851-6e2b-4d98-9bc8-c6a9879c5eb9" providerId="AD" clId="Web-{A04C8C0C-AFF3-8024-33F4-367C079B0408}" dt="2022-02-11T11:28:55.541" v="163" actId="1076"/>
          <ac:spMkLst>
            <pc:docMk/>
            <pc:sldMk cId="1289447915" sldId="341"/>
            <ac:spMk id="2" creationId="{C633F6CA-C2C0-4EEE-B722-006D7F6F62AF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83"/>
          <ac:spMkLst>
            <pc:docMk/>
            <pc:sldMk cId="1289447915" sldId="341"/>
            <ac:spMk id="3" creationId="{B4F34F1D-BFAB-4E05-8CE3-423DF0F7B881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82"/>
          <ac:spMkLst>
            <pc:docMk/>
            <pc:sldMk cId="1289447915" sldId="341"/>
            <ac:spMk id="5" creationId="{71E02C61-7758-4608-A1A9-A495C3BCBE00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17" v="242"/>
          <ac:spMkLst>
            <pc:docMk/>
            <pc:sldMk cId="1289447915" sldId="341"/>
            <ac:spMk id="45" creationId="{AFBFFCE0-B828-4CC6-B003-F55165986310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31:05.794" v="267"/>
          <ac:spMkLst>
            <pc:docMk/>
            <pc:sldMk cId="1289447915" sldId="341"/>
            <ac:spMk id="80" creationId="{29F485FE-6AE4-43E5-ADE8-16F8FF1A01D0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31:03.435" v="266"/>
          <ac:spMkLst>
            <pc:docMk/>
            <pc:sldMk cId="1289447915" sldId="341"/>
            <ac:spMk id="81" creationId="{AE536ACE-89E5-48F1-98AF-941C63F4C320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31:01.779" v="265"/>
          <ac:spMkLst>
            <pc:docMk/>
            <pc:sldMk cId="1289447915" sldId="341"/>
            <ac:spMk id="82" creationId="{1ABC3F89-6BEE-4CA4-8BF4-92DA4A0975FD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1:32:50.531" v="307" actId="20577"/>
          <ac:spMkLst>
            <pc:docMk/>
            <pc:sldMk cId="1289447915" sldId="341"/>
            <ac:spMk id="104" creationId="{6822722A-0D27-47D5-BDDB-6D7DD95F48C9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1:28:48.447" v="162" actId="20577"/>
          <ac:spMkLst>
            <pc:docMk/>
            <pc:sldMk cId="1289447915" sldId="341"/>
            <ac:spMk id="110" creationId="{71E348CF-933A-42AB-834A-6C366471494A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1:32:27.593" v="300" actId="20577"/>
          <ac:spMkLst>
            <pc:docMk/>
            <pc:sldMk cId="1289447915" sldId="341"/>
            <ac:spMk id="112" creationId="{043D6C5F-5887-491B-ABDD-F36389C99D68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10"/>
          <ac:spMkLst>
            <pc:docMk/>
            <pc:sldMk cId="1289447915" sldId="341"/>
            <ac:spMk id="203" creationId="{6B73B8E3-31CE-47B5-B13E-95388E3A3CD4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9"/>
          <ac:spMkLst>
            <pc:docMk/>
            <pc:sldMk cId="1289447915" sldId="341"/>
            <ac:spMk id="204" creationId="{46BE941C-7209-47D9-8E05-C70738DA2B51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8"/>
          <ac:spMkLst>
            <pc:docMk/>
            <pc:sldMk cId="1289447915" sldId="341"/>
            <ac:spMk id="205" creationId="{7A5F0FC9-2B77-4404-A0AC-2E2228F6701B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7"/>
          <ac:spMkLst>
            <pc:docMk/>
            <pc:sldMk cId="1289447915" sldId="341"/>
            <ac:spMk id="206" creationId="{161DC94A-FA1F-463B-9F21-9D2863F2A5E7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6"/>
          <ac:spMkLst>
            <pc:docMk/>
            <pc:sldMk cId="1289447915" sldId="341"/>
            <ac:spMk id="207" creationId="{25BFE48E-808B-4183-9103-C35B0E9831B1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5"/>
          <ac:spMkLst>
            <pc:docMk/>
            <pc:sldMk cId="1289447915" sldId="341"/>
            <ac:spMk id="208" creationId="{67BF1EAC-A832-467A-9A63-156F714E4A72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4"/>
          <ac:spMkLst>
            <pc:docMk/>
            <pc:sldMk cId="1289447915" sldId="341"/>
            <ac:spMk id="209" creationId="{53232E39-F85B-4F4C-B978-5A6B19566EC3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3"/>
          <ac:spMkLst>
            <pc:docMk/>
            <pc:sldMk cId="1289447915" sldId="341"/>
            <ac:spMk id="210" creationId="{6D4BB89C-2846-4259-B177-AFB7D765F15C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2"/>
          <ac:spMkLst>
            <pc:docMk/>
            <pc:sldMk cId="1289447915" sldId="341"/>
            <ac:spMk id="211" creationId="{C8B56391-1AA0-4632-A715-E3B44132975E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1"/>
          <ac:spMkLst>
            <pc:docMk/>
            <pc:sldMk cId="1289447915" sldId="341"/>
            <ac:spMk id="217" creationId="{B7BDD9FF-7B06-4A99-9AB4-40FA9B5B3249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200"/>
          <ac:spMkLst>
            <pc:docMk/>
            <pc:sldMk cId="1289447915" sldId="341"/>
            <ac:spMk id="218" creationId="{E9E70DE6-BE01-47CB-9903-E5E5E2C6A4A8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9"/>
          <ac:spMkLst>
            <pc:docMk/>
            <pc:sldMk cId="1289447915" sldId="341"/>
            <ac:spMk id="219" creationId="{9504D7C5-4244-4D07-A862-7A5F86E1BF8C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8"/>
          <ac:spMkLst>
            <pc:docMk/>
            <pc:sldMk cId="1289447915" sldId="341"/>
            <ac:spMk id="220" creationId="{621143CB-67FD-4B0F-853E-309119048653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7"/>
          <ac:spMkLst>
            <pc:docMk/>
            <pc:sldMk cId="1289447915" sldId="341"/>
            <ac:spMk id="228" creationId="{46DA6379-EBC9-4AAA-BFAC-18E5299A12AF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6"/>
          <ac:spMkLst>
            <pc:docMk/>
            <pc:sldMk cId="1289447915" sldId="341"/>
            <ac:spMk id="229" creationId="{75B789C4-5880-45F1-863B-CEA7C52E2D62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5"/>
          <ac:spMkLst>
            <pc:docMk/>
            <pc:sldMk cId="1289447915" sldId="341"/>
            <ac:spMk id="230" creationId="{9F15816E-A647-4381-8D7D-DB6EF581DA48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4"/>
          <ac:spMkLst>
            <pc:docMk/>
            <pc:sldMk cId="1289447915" sldId="341"/>
            <ac:spMk id="231" creationId="{C11FF2A8-C86E-41AD-AC66-DD300905DE37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3"/>
          <ac:spMkLst>
            <pc:docMk/>
            <pc:sldMk cId="1289447915" sldId="341"/>
            <ac:spMk id="232" creationId="{4D5AC9EA-8539-4013-8C09-89926A40C0E3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1:33:20.501" v="309" actId="20577"/>
          <ac:spMkLst>
            <pc:docMk/>
            <pc:sldMk cId="1289447915" sldId="341"/>
            <ac:spMk id="235" creationId="{ED21CAD8-E5C0-445F-8D37-A5145961DD4C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2"/>
          <ac:spMkLst>
            <pc:docMk/>
            <pc:sldMk cId="1289447915" sldId="341"/>
            <ac:spMk id="245" creationId="{6716D7E0-10AA-4813-8E76-9A98744AA415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1:32:07.983" v="290" actId="14100"/>
          <ac:spMkLst>
            <pc:docMk/>
            <pc:sldMk cId="1289447915" sldId="341"/>
            <ac:spMk id="246" creationId="{ED2D3C5C-032A-4A53-BC75-AB486AFA8311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87"/>
          <ac:spMkLst>
            <pc:docMk/>
            <pc:sldMk cId="1289447915" sldId="341"/>
            <ac:spMk id="248" creationId="{C195C25B-88B8-4199-95F6-F16E51B76E1A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86"/>
          <ac:spMkLst>
            <pc:docMk/>
            <pc:sldMk cId="1289447915" sldId="341"/>
            <ac:spMk id="257" creationId="{3B1E35EA-44E7-44AB-8A7B-DD74144BF3A0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886" v="175"/>
          <ac:spMkLst>
            <pc:docMk/>
            <pc:sldMk cId="1289447915" sldId="341"/>
            <ac:spMk id="264" creationId="{5FE2C80E-2609-4C27-A6B8-F1CBB70B56ED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85"/>
          <ac:spMkLst>
            <pc:docMk/>
            <pc:sldMk cId="1289447915" sldId="341"/>
            <ac:spMk id="270" creationId="{5B24B791-B497-497E-8A00-94133C298797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45.183" v="252"/>
          <ac:spMkLst>
            <pc:docMk/>
            <pc:sldMk cId="1289447915" sldId="341"/>
            <ac:spMk id="274" creationId="{6E341F02-80BD-4A7C-B828-5D8F2D25BEA2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1"/>
          <ac:spMkLst>
            <pc:docMk/>
            <pc:sldMk cId="1289447915" sldId="341"/>
            <ac:spMk id="275" creationId="{5DD92AE6-B89A-449C-BC03-2DD163B65316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84"/>
          <ac:spMkLst>
            <pc:docMk/>
            <pc:sldMk cId="1289447915" sldId="341"/>
            <ac:spMk id="278" creationId="{5DA275E9-5079-4C86-B690-C627A6113102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90"/>
          <ac:spMkLst>
            <pc:docMk/>
            <pc:sldMk cId="1289447915" sldId="341"/>
            <ac:spMk id="279" creationId="{E562C538-5AB7-4940-BBCA-B67CC2F0C120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89"/>
          <ac:spMkLst>
            <pc:docMk/>
            <pc:sldMk cId="1289447915" sldId="341"/>
            <ac:spMk id="282" creationId="{5261C844-C4F9-475F-A263-DB044764FC2D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01" v="188"/>
          <ac:spMkLst>
            <pc:docMk/>
            <pc:sldMk cId="1289447915" sldId="341"/>
            <ac:spMk id="292" creationId="{573AA6AF-A5B5-402F-BBF4-B500A47EAF58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17" v="216"/>
          <ac:spMkLst>
            <pc:docMk/>
            <pc:sldMk cId="1289447915" sldId="341"/>
            <ac:spMk id="299" creationId="{538B1D1C-851E-4F27-8661-E3E2056FDD9B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886" v="181"/>
          <ac:spMkLst>
            <pc:docMk/>
            <pc:sldMk cId="1289447915" sldId="341"/>
            <ac:spMk id="300" creationId="{33D03AD3-D931-438E-AB66-9115DE6561B6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886" v="180"/>
          <ac:spMkLst>
            <pc:docMk/>
            <pc:sldMk cId="1289447915" sldId="341"/>
            <ac:spMk id="305" creationId="{6C8C9D04-6E6E-44A4-85FD-E801A333B59C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886" v="179"/>
          <ac:spMkLst>
            <pc:docMk/>
            <pc:sldMk cId="1289447915" sldId="341"/>
            <ac:spMk id="306" creationId="{C016E856-01C4-4EC2-89F1-36059E4EE900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886" v="178"/>
          <ac:spMkLst>
            <pc:docMk/>
            <pc:sldMk cId="1289447915" sldId="341"/>
            <ac:spMk id="307" creationId="{68E13990-55E6-4C97-BB77-ECF9707D8C22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886" v="177"/>
          <ac:spMkLst>
            <pc:docMk/>
            <pc:sldMk cId="1289447915" sldId="341"/>
            <ac:spMk id="308" creationId="{EAC62D43-A23D-4556-8750-117209B27401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886" v="176"/>
          <ac:spMkLst>
            <pc:docMk/>
            <pc:sldMk cId="1289447915" sldId="341"/>
            <ac:spMk id="312" creationId="{2118D9A0-BC8F-4BA8-872B-FA45119C7967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33.027" v="247"/>
          <ac:spMkLst>
            <pc:docMk/>
            <pc:sldMk cId="1289447915" sldId="341"/>
            <ac:spMk id="315" creationId="{19B81BDD-1B1F-4AFA-8554-1C626E521BFB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17" v="226"/>
          <ac:spMkLst>
            <pc:docMk/>
            <pc:sldMk cId="1289447915" sldId="341"/>
            <ac:spMk id="391" creationId="{FC703C3E-9616-451F-BDC0-778AD8F70971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17" v="222"/>
          <ac:spMkLst>
            <pc:docMk/>
            <pc:sldMk cId="1289447915" sldId="341"/>
            <ac:spMk id="434" creationId="{226CBAF9-EFE1-40FB-B504-1C480FA2A3FA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43.152" v="251"/>
          <ac:spMkLst>
            <pc:docMk/>
            <pc:sldMk cId="1289447915" sldId="341"/>
            <ac:spMk id="456" creationId="{00AC131F-A683-4E85-B8D6-3CDCEC26DDE3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42.011" v="250"/>
          <ac:spMkLst>
            <pc:docMk/>
            <pc:sldMk cId="1289447915" sldId="341"/>
            <ac:spMk id="457" creationId="{D2C2AB27-C617-46AA-BD01-73BAD856D337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40.949" v="249"/>
          <ac:spMkLst>
            <pc:docMk/>
            <pc:sldMk cId="1289447915" sldId="341"/>
            <ac:spMk id="458" creationId="{DE30287A-27EC-4879-B127-1E9C9FE3967A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36.089" v="248"/>
          <ac:spMkLst>
            <pc:docMk/>
            <pc:sldMk cId="1289447915" sldId="341"/>
            <ac:spMk id="459" creationId="{064E00EB-EB85-40FC-B710-77B63845F754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1:29:25.917" v="220"/>
          <ac:spMkLst>
            <pc:docMk/>
            <pc:sldMk cId="1289447915" sldId="341"/>
            <ac:spMk id="461" creationId="{EEEF564F-41E9-4DBB-A729-CD86321346F6}"/>
          </ac:spMkLst>
        </pc:spChg>
        <pc:grpChg chg="del">
          <ac:chgData name="Hamila Naoufel" userId="S::naoufel.hamila@inetum.com::e965c851-6e2b-4d98-9bc8-c6a9879c5eb9" providerId="AD" clId="Web-{A04C8C0C-AFF3-8024-33F4-367C079B0408}" dt="2022-02-11T11:29:25.917" v="236"/>
          <ac:grpSpMkLst>
            <pc:docMk/>
            <pc:sldMk cId="1289447915" sldId="341"/>
            <ac:grpSpMk id="51" creationId="{90D63C18-8AF9-4573-813C-0EF87266907E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41"/>
          <ac:grpSpMkLst>
            <pc:docMk/>
            <pc:sldMk cId="1289447915" sldId="341"/>
            <ac:grpSpMk id="53" creationId="{F0883E62-3D6C-4EE9-984D-542858DA5D04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28"/>
          <ac:grpSpMkLst>
            <pc:docMk/>
            <pc:sldMk cId="1289447915" sldId="341"/>
            <ac:grpSpMk id="73" creationId="{E714CA16-3497-4218-98F9-EA0AA7FE5785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13"/>
          <ac:grpSpMkLst>
            <pc:docMk/>
            <pc:sldMk cId="1289447915" sldId="341"/>
            <ac:grpSpMk id="83" creationId="{443CF88D-E67A-4BFD-9893-D7E43104D64A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12"/>
          <ac:grpSpMkLst>
            <pc:docMk/>
            <pc:sldMk cId="1289447915" sldId="341"/>
            <ac:grpSpMk id="84" creationId="{9579EEBE-A09A-4E17-90E3-80BADDB3E514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11"/>
          <ac:grpSpMkLst>
            <pc:docMk/>
            <pc:sldMk cId="1289447915" sldId="341"/>
            <ac:grpSpMk id="85" creationId="{05313F21-C07E-4CD3-B318-28C7F248C4DC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10"/>
          <ac:grpSpMkLst>
            <pc:docMk/>
            <pc:sldMk cId="1289447915" sldId="341"/>
            <ac:grpSpMk id="86" creationId="{FD2FF13A-4967-4A1D-9F51-ACB0FD6B7A37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09"/>
          <ac:grpSpMkLst>
            <pc:docMk/>
            <pc:sldMk cId="1289447915" sldId="341"/>
            <ac:grpSpMk id="87" creationId="{7F6496BF-E866-47ED-958A-09C69B577F1B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08"/>
          <ac:grpSpMkLst>
            <pc:docMk/>
            <pc:sldMk cId="1289447915" sldId="341"/>
            <ac:grpSpMk id="88" creationId="{AF5F3A5B-6B26-47F0-943B-3C25BA1DAA97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07"/>
          <ac:grpSpMkLst>
            <pc:docMk/>
            <pc:sldMk cId="1289447915" sldId="341"/>
            <ac:grpSpMk id="89" creationId="{F799E5FE-1853-4E4E-BA40-E8B547A535B6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06"/>
          <ac:grpSpMkLst>
            <pc:docMk/>
            <pc:sldMk cId="1289447915" sldId="341"/>
            <ac:grpSpMk id="90" creationId="{3217696F-ADE8-4C9E-A3EB-5A7711E89930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05"/>
          <ac:grpSpMkLst>
            <pc:docMk/>
            <pc:sldMk cId="1289447915" sldId="341"/>
            <ac:grpSpMk id="91" creationId="{64C32675-5BAE-44E0-9602-C5BF47C99302}"/>
          </ac:grpSpMkLst>
        </pc:grpChg>
        <pc:grpChg chg="del mod">
          <ac:chgData name="Hamila Naoufel" userId="S::naoufel.hamila@inetum.com::e965c851-6e2b-4d98-9bc8-c6a9879c5eb9" providerId="AD" clId="Web-{A04C8C0C-AFF3-8024-33F4-367C079B0408}" dt="2022-02-11T12:47:02.901" v="504"/>
          <ac:grpSpMkLst>
            <pc:docMk/>
            <pc:sldMk cId="1289447915" sldId="341"/>
            <ac:grpSpMk id="92" creationId="{7C3218B0-0975-4EBF-840B-CE9BB2107662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34"/>
          <ac:grpSpMkLst>
            <pc:docMk/>
            <pc:sldMk cId="1289447915" sldId="341"/>
            <ac:grpSpMk id="168" creationId="{561E2D09-AB9A-482B-B3D0-9B7F12C63A83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33"/>
          <ac:grpSpMkLst>
            <pc:docMk/>
            <pc:sldMk cId="1289447915" sldId="341"/>
            <ac:grpSpMk id="170" creationId="{D39069E6-96F9-4936-8020-F26117F7C48E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01" v="211"/>
          <ac:grpSpMkLst>
            <pc:docMk/>
            <pc:sldMk cId="1289447915" sldId="341"/>
            <ac:grpSpMk id="212" creationId="{7A6B7396-CB59-4CCB-823D-B1D8575F5398}"/>
          </ac:grpSpMkLst>
        </pc:grpChg>
        <pc:grpChg chg="add del mod">
          <ac:chgData name="Hamila Naoufel" userId="S::naoufel.hamila@inetum.com::e965c851-6e2b-4d98-9bc8-c6a9879c5eb9" providerId="AD" clId="Web-{A04C8C0C-AFF3-8024-33F4-367C079B0408}" dt="2022-02-11T12:47:02.901" v="503"/>
          <ac:grpSpMkLst>
            <pc:docMk/>
            <pc:sldMk cId="1289447915" sldId="341"/>
            <ac:grpSpMk id="221" creationId="{3FD71E8B-496F-441E-B9FB-A91BB459ED9F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19"/>
          <ac:grpSpMkLst>
            <pc:docMk/>
            <pc:sldMk cId="1289447915" sldId="341"/>
            <ac:grpSpMk id="223" creationId="{2D37154F-A957-422F-A669-95FCA1D43A68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17"/>
          <ac:grpSpMkLst>
            <pc:docMk/>
            <pc:sldMk cId="1289447915" sldId="341"/>
            <ac:grpSpMk id="225" creationId="{13B49A32-493A-475D-A492-6F9E4486F629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40"/>
          <ac:grpSpMkLst>
            <pc:docMk/>
            <pc:sldMk cId="1289447915" sldId="341"/>
            <ac:grpSpMk id="226" creationId="{ACC32B67-5787-437D-84C3-E14B55B8782C}"/>
          </ac:grpSpMkLst>
        </pc:grpChg>
        <pc:grpChg chg="add del mod">
          <ac:chgData name="Hamila Naoufel" userId="S::naoufel.hamila@inetum.com::e965c851-6e2b-4d98-9bc8-c6a9879c5eb9" providerId="AD" clId="Web-{A04C8C0C-AFF3-8024-33F4-367C079B0408}" dt="2022-02-11T12:47:02.901" v="502"/>
          <ac:grpSpMkLst>
            <pc:docMk/>
            <pc:sldMk cId="1289447915" sldId="341"/>
            <ac:grpSpMk id="233" creationId="{97956BF1-4222-4CD4-9EE7-BD9100804697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18"/>
          <ac:grpSpMkLst>
            <pc:docMk/>
            <pc:sldMk cId="1289447915" sldId="341"/>
            <ac:grpSpMk id="238" creationId="{1CDD8EF1-D0E6-479F-9799-8864DB0FC1DC}"/>
          </ac:grpSpMkLst>
        </pc:grpChg>
        <pc:grpChg chg="add del mod">
          <ac:chgData name="Hamila Naoufel" userId="S::naoufel.hamila@inetum.com::e965c851-6e2b-4d98-9bc8-c6a9879c5eb9" providerId="AD" clId="Web-{A04C8C0C-AFF3-8024-33F4-367C079B0408}" dt="2022-02-11T12:47:02.901" v="501"/>
          <ac:grpSpMkLst>
            <pc:docMk/>
            <pc:sldMk cId="1289447915" sldId="341"/>
            <ac:grpSpMk id="243" creationId="{AA867BD7-A5F4-4892-8FA7-05A7CB61603F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39"/>
          <ac:grpSpMkLst>
            <pc:docMk/>
            <pc:sldMk cId="1289447915" sldId="341"/>
            <ac:grpSpMk id="251" creationId="{016D04B7-3F89-492D-92D0-BEBC18260377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29"/>
          <ac:grpSpMkLst>
            <pc:docMk/>
            <pc:sldMk cId="1289447915" sldId="341"/>
            <ac:grpSpMk id="258" creationId="{972996DF-1402-4DF7-BF99-19AA94B943CC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15"/>
          <ac:grpSpMkLst>
            <pc:docMk/>
            <pc:sldMk cId="1289447915" sldId="341"/>
            <ac:grpSpMk id="294" creationId="{0CCBF534-4F1D-4454-99F2-CEE8A5C37DFB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14"/>
          <ac:grpSpMkLst>
            <pc:docMk/>
            <pc:sldMk cId="1289447915" sldId="341"/>
            <ac:grpSpMk id="325" creationId="{894CE4D1-C015-402C-96EB-12620FD81FD2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01" v="213"/>
          <ac:grpSpMkLst>
            <pc:docMk/>
            <pc:sldMk cId="1289447915" sldId="341"/>
            <ac:grpSpMk id="332" creationId="{AA197806-CBC5-406B-A897-6F5CDB8E7A0D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01" v="212"/>
          <ac:grpSpMkLst>
            <pc:docMk/>
            <pc:sldMk cId="1289447915" sldId="341"/>
            <ac:grpSpMk id="339" creationId="{C773B030-2068-4462-AD4F-9562A02EBA47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38"/>
          <ac:grpSpMkLst>
            <pc:docMk/>
            <pc:sldMk cId="1289447915" sldId="341"/>
            <ac:grpSpMk id="374" creationId="{2683262B-F7AA-4C1E-9E21-F77AFFD52973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37"/>
          <ac:grpSpMkLst>
            <pc:docMk/>
            <pc:sldMk cId="1289447915" sldId="341"/>
            <ac:grpSpMk id="376" creationId="{713B7E4D-E222-4A71-A26E-58C7308BF9A3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35"/>
          <ac:grpSpMkLst>
            <pc:docMk/>
            <pc:sldMk cId="1289447915" sldId="341"/>
            <ac:grpSpMk id="377" creationId="{EA25C1ED-9634-41EC-8041-8923BF23D528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31"/>
          <ac:grpSpMkLst>
            <pc:docMk/>
            <pc:sldMk cId="1289447915" sldId="341"/>
            <ac:grpSpMk id="382" creationId="{43EE1640-B5F3-42CB-8DF4-EDCEAEE6049D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32"/>
          <ac:grpSpMkLst>
            <pc:docMk/>
            <pc:sldMk cId="1289447915" sldId="341"/>
            <ac:grpSpMk id="383" creationId="{FAA6C49D-8F3E-4B71-9D26-ECB1F413D0B7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30"/>
          <ac:grpSpMkLst>
            <pc:docMk/>
            <pc:sldMk cId="1289447915" sldId="341"/>
            <ac:grpSpMk id="384" creationId="{4C22C712-B4D1-488D-BC54-0091646C37AA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27"/>
          <ac:grpSpMkLst>
            <pc:docMk/>
            <pc:sldMk cId="1289447915" sldId="341"/>
            <ac:grpSpMk id="388" creationId="{19E550F8-6E3D-4806-B70F-F12D3C869D94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25"/>
          <ac:grpSpMkLst>
            <pc:docMk/>
            <pc:sldMk cId="1289447915" sldId="341"/>
            <ac:grpSpMk id="405" creationId="{BA762AFF-99D5-4D4D-816D-1360F049005D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24"/>
          <ac:grpSpMkLst>
            <pc:docMk/>
            <pc:sldMk cId="1289447915" sldId="341"/>
            <ac:grpSpMk id="412" creationId="{2966E903-04B2-41FB-8051-A652AF44A65A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23"/>
          <ac:grpSpMkLst>
            <pc:docMk/>
            <pc:sldMk cId="1289447915" sldId="341"/>
            <ac:grpSpMk id="419" creationId="{BD16908B-9626-46A5-B2FC-D95345BFBDE7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1:29:25.917" v="221"/>
          <ac:grpSpMkLst>
            <pc:docMk/>
            <pc:sldMk cId="1289447915" sldId="341"/>
            <ac:grpSpMk id="421" creationId="{1DBEE36D-A5DE-4F0A-90F6-1C754C64407B}"/>
          </ac:grpSpMkLst>
        </pc:grpChg>
        <pc:graphicFrameChg chg="del mod modGraphic">
          <ac:chgData name="Hamila Naoufel" userId="S::naoufel.hamila@inetum.com::e965c851-6e2b-4d98-9bc8-c6a9879c5eb9" providerId="AD" clId="Web-{A04C8C0C-AFF3-8024-33F4-367C079B0408}" dt="2022-02-11T11:29:21.370" v="174"/>
          <ac:graphicFrameMkLst>
            <pc:docMk/>
            <pc:sldMk cId="1289447915" sldId="341"/>
            <ac:graphicFrameMk id="8" creationId="{8C26ABAE-75EC-4E28-B284-801C9A41D8C7}"/>
          </ac:graphicFrameMkLst>
        </pc:graphicFrameChg>
        <pc:graphicFrameChg chg="del">
          <ac:chgData name="Hamila Naoufel" userId="S::naoufel.hamila@inetum.com::e965c851-6e2b-4d98-9bc8-c6a9879c5eb9" providerId="AD" clId="Web-{A04C8C0C-AFF3-8024-33F4-367C079B0408}" dt="2022-02-11T11:27:55.712" v="142"/>
          <ac:graphicFrameMkLst>
            <pc:docMk/>
            <pc:sldMk cId="1289447915" sldId="341"/>
            <ac:graphicFrameMk id="283" creationId="{EB36CF8D-EA81-48A1-84B3-0F4CE755BDC7}"/>
          </ac:graphicFrameMkLst>
        </pc:graphicFrameChg>
        <pc:cxnChg chg="del">
          <ac:chgData name="Hamila Naoufel" userId="S::naoufel.hamila@inetum.com::e965c851-6e2b-4d98-9bc8-c6a9879c5eb9" providerId="AD" clId="Web-{A04C8C0C-AFF3-8024-33F4-367C079B0408}" dt="2022-02-11T11:29:25.917" v="243"/>
          <ac:cxnSpMkLst>
            <pc:docMk/>
            <pc:sldMk cId="1289447915" sldId="341"/>
            <ac:cxnSpMk id="115" creationId="{397B1BCF-0EFA-4974-A2C8-0390C24F6384}"/>
          </ac:cxnSpMkLst>
        </pc:cxnChg>
        <pc:cxnChg chg="del">
          <ac:chgData name="Hamila Naoufel" userId="S::naoufel.hamila@inetum.com::e965c851-6e2b-4d98-9bc8-c6a9879c5eb9" providerId="AD" clId="Web-{A04C8C0C-AFF3-8024-33F4-367C079B0408}" dt="2022-02-11T11:29:25.917" v="244"/>
          <ac:cxnSpMkLst>
            <pc:docMk/>
            <pc:sldMk cId="1289447915" sldId="341"/>
            <ac:cxnSpMk id="122" creationId="{1DA40DBA-E0E4-4DB7-AD0B-394E0B441F1A}"/>
          </ac:cxnSpMkLst>
        </pc:cxnChg>
        <pc:cxnChg chg="del">
          <ac:chgData name="Hamila Naoufel" userId="S::naoufel.hamila@inetum.com::e965c851-6e2b-4d98-9bc8-c6a9879c5eb9" providerId="AD" clId="Web-{A04C8C0C-AFF3-8024-33F4-367C079B0408}" dt="2022-02-11T11:29:25.917" v="246"/>
          <ac:cxnSpMkLst>
            <pc:docMk/>
            <pc:sldMk cId="1289447915" sldId="341"/>
            <ac:cxnSpMk id="126" creationId="{BB1F5320-354F-4DE7-BA87-E031C557C758}"/>
          </ac:cxnSpMkLst>
        </pc:cxnChg>
        <pc:cxnChg chg="del">
          <ac:chgData name="Hamila Naoufel" userId="S::naoufel.hamila@inetum.com::e965c851-6e2b-4d98-9bc8-c6a9879c5eb9" providerId="AD" clId="Web-{A04C8C0C-AFF3-8024-33F4-367C079B0408}" dt="2022-02-11T11:29:25.917" v="245"/>
          <ac:cxnSpMkLst>
            <pc:docMk/>
            <pc:sldMk cId="1289447915" sldId="341"/>
            <ac:cxnSpMk id="129" creationId="{A9B6FB21-27AB-4B39-A979-49D6A8034D8F}"/>
          </ac:cxnSpMkLst>
        </pc:cxnChg>
        <pc:cxnChg chg="del mod">
          <ac:chgData name="Hamila Naoufel" userId="S::naoufel.hamila@inetum.com::e965c851-6e2b-4d98-9bc8-c6a9879c5eb9" providerId="AD" clId="Web-{A04C8C0C-AFF3-8024-33F4-367C079B0408}" dt="2022-02-11T11:30:24.590" v="258"/>
          <ac:cxnSpMkLst>
            <pc:docMk/>
            <pc:sldMk cId="1289447915" sldId="341"/>
            <ac:cxnSpMk id="132" creationId="{90E2450B-F8E9-4724-AD3A-1CDB091BD20A}"/>
          </ac:cxnSpMkLst>
        </pc:cxnChg>
      </pc:sldChg>
      <pc:sldChg chg="add del replId">
        <pc:chgData name="Hamila Naoufel" userId="S::naoufel.hamila@inetum.com::e965c851-6e2b-4d98-9bc8-c6a9879c5eb9" providerId="AD" clId="Web-{A04C8C0C-AFF3-8024-33F4-367C079B0408}" dt="2022-02-11T12:48:15.184" v="642"/>
        <pc:sldMkLst>
          <pc:docMk/>
          <pc:sldMk cId="440457616" sldId="342"/>
        </pc:sldMkLst>
      </pc:sldChg>
      <pc:sldChg chg="addSp delSp modSp add ord">
        <pc:chgData name="Hamila Naoufel" userId="S::naoufel.hamila@inetum.com::e965c851-6e2b-4d98-9bc8-c6a9879c5eb9" providerId="AD" clId="Web-{A04C8C0C-AFF3-8024-33F4-367C079B0408}" dt="2022-02-11T14:52:52.134" v="1306"/>
        <pc:sldMkLst>
          <pc:docMk/>
          <pc:sldMk cId="3570833389" sldId="343"/>
        </pc:sldMkLst>
        <pc:spChg chg="add mod">
          <ac:chgData name="Hamila Naoufel" userId="S::naoufel.hamila@inetum.com::e965c851-6e2b-4d98-9bc8-c6a9879c5eb9" providerId="AD" clId="Web-{A04C8C0C-AFF3-8024-33F4-367C079B0408}" dt="2022-02-11T14:26:19.305" v="946" actId="1076"/>
          <ac:spMkLst>
            <pc:docMk/>
            <pc:sldMk cId="3570833389" sldId="343"/>
            <ac:spMk id="3" creationId="{E3DAF777-EA31-4D3C-9A48-54987062E036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32:52.422" v="1007"/>
          <ac:spMkLst>
            <pc:docMk/>
            <pc:sldMk cId="3570833389" sldId="343"/>
            <ac:spMk id="4" creationId="{5DD0E354-6051-4A06-AC77-69F39167A79F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28:13.828" v="959" actId="1076"/>
          <ac:spMkLst>
            <pc:docMk/>
            <pc:sldMk cId="3570833389" sldId="343"/>
            <ac:spMk id="10" creationId="{B803A3BF-D656-4D59-80F8-DC9994BDD73A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29:10.190" v="969" actId="14100"/>
          <ac:spMkLst>
            <pc:docMk/>
            <pc:sldMk cId="3570833389" sldId="343"/>
            <ac:spMk id="11" creationId="{D047E795-0129-4F55-A2AE-3E0340F8D36C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30:27.320" v="975" actId="20577"/>
          <ac:spMkLst>
            <pc:docMk/>
            <pc:sldMk cId="3570833389" sldId="343"/>
            <ac:spMk id="12" creationId="{34376624-41CE-4E11-A3DB-DFFCB4F51E21}"/>
          </ac:spMkLst>
        </pc:spChg>
        <pc:spChg chg="add del">
          <ac:chgData name="Hamila Naoufel" userId="S::naoufel.hamila@inetum.com::e965c851-6e2b-4d98-9bc8-c6a9879c5eb9" providerId="AD" clId="Web-{A04C8C0C-AFF3-8024-33F4-367C079B0408}" dt="2022-02-11T14:30:49.556" v="981"/>
          <ac:spMkLst>
            <pc:docMk/>
            <pc:sldMk cId="3570833389" sldId="343"/>
            <ac:spMk id="13" creationId="{5E545D78-8304-46E7-9A70-CDC914E38E71}"/>
          </ac:spMkLst>
        </pc:spChg>
        <pc:spChg chg="add del">
          <ac:chgData name="Hamila Naoufel" userId="S::naoufel.hamila@inetum.com::e965c851-6e2b-4d98-9bc8-c6a9879c5eb9" providerId="AD" clId="Web-{A04C8C0C-AFF3-8024-33F4-367C079B0408}" dt="2022-02-11T14:30:41.539" v="980"/>
          <ac:spMkLst>
            <pc:docMk/>
            <pc:sldMk cId="3570833389" sldId="343"/>
            <ac:spMk id="14" creationId="{D48E45B6-13BC-47D6-A4AA-81210E16538B}"/>
          </ac:spMkLst>
        </pc:spChg>
        <pc:spChg chg="add del">
          <ac:chgData name="Hamila Naoufel" userId="S::naoufel.hamila@inetum.com::e965c851-6e2b-4d98-9bc8-c6a9879c5eb9" providerId="AD" clId="Web-{A04C8C0C-AFF3-8024-33F4-367C079B0408}" dt="2022-02-11T14:30:39.571" v="979"/>
          <ac:spMkLst>
            <pc:docMk/>
            <pc:sldMk cId="3570833389" sldId="343"/>
            <ac:spMk id="15" creationId="{5BD00DF8-D260-491D-A6DA-C6AABB01A0C7}"/>
          </ac:spMkLst>
        </pc:spChg>
        <pc:graphicFrameChg chg="mod modGraphic">
          <ac:chgData name="Hamila Naoufel" userId="S::naoufel.hamila@inetum.com::e965c851-6e2b-4d98-9bc8-c6a9879c5eb9" providerId="AD" clId="Web-{A04C8C0C-AFF3-8024-33F4-367C079B0408}" dt="2022-02-11T14:52:52.134" v="1306"/>
          <ac:graphicFrameMkLst>
            <pc:docMk/>
            <pc:sldMk cId="3570833389" sldId="343"/>
            <ac:graphicFrameMk id="2" creationId="{E8489C92-5134-4637-A579-A9E3F2F7261D}"/>
          </ac:graphicFrameMkLst>
        </pc:graphicFrameChg>
        <pc:picChg chg="add del mod">
          <ac:chgData name="Hamila Naoufel" userId="S::naoufel.hamila@inetum.com::e965c851-6e2b-4d98-9bc8-c6a9879c5eb9" providerId="AD" clId="Web-{A04C8C0C-AFF3-8024-33F4-367C079B0408}" dt="2022-02-11T13:09:22.665" v="873"/>
          <ac:picMkLst>
            <pc:docMk/>
            <pc:sldMk cId="3570833389" sldId="343"/>
            <ac:picMk id="3" creationId="{FA8F339F-C497-4E94-B257-8A31BD9BC9AD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3:09:26.259" v="877"/>
          <ac:picMkLst>
            <pc:docMk/>
            <pc:sldMk cId="3570833389" sldId="343"/>
            <ac:picMk id="5" creationId="{EA449DDD-213F-46CC-BCED-DF407B8EB3F3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27:51.951" v="956" actId="1076"/>
          <ac:picMkLst>
            <pc:docMk/>
            <pc:sldMk cId="3570833389" sldId="343"/>
            <ac:picMk id="6" creationId="{68E8865C-48DD-4576-A41F-D78134A2B437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3:09:23.618" v="874"/>
          <ac:picMkLst>
            <pc:docMk/>
            <pc:sldMk cId="3570833389" sldId="343"/>
            <ac:picMk id="6" creationId="{8F6F5090-8EE0-40B7-9E14-ED80AF3D3F1C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3:09:25.603" v="876"/>
          <ac:picMkLst>
            <pc:docMk/>
            <pc:sldMk cId="3570833389" sldId="343"/>
            <ac:picMk id="7" creationId="{EFC2406A-E849-4531-B835-218A3D4B769B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3:09:24.603" v="875"/>
          <ac:picMkLst>
            <pc:docMk/>
            <pc:sldMk cId="3570833389" sldId="343"/>
            <ac:picMk id="8" creationId="{3817FE7C-1A37-42CF-810F-098EACF8D946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28:20.297" v="960" actId="1076"/>
          <ac:picMkLst>
            <pc:docMk/>
            <pc:sldMk cId="3570833389" sldId="343"/>
            <ac:picMk id="8" creationId="{49B24208-CD39-4CF6-BB76-4F61F9256AFE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2:56:32.554" v="787"/>
          <ac:picMkLst>
            <pc:docMk/>
            <pc:sldMk cId="3570833389" sldId="343"/>
            <ac:picMk id="9" creationId="{CC5E2F64-1B03-4D82-9895-C737FB28F999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3:09:27.119" v="878"/>
          <ac:picMkLst>
            <pc:docMk/>
            <pc:sldMk cId="3570833389" sldId="343"/>
            <ac:picMk id="10" creationId="{F0CD9124-ED8E-4D96-8A81-DCF74A4DC494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3:09:27.869" v="879"/>
          <ac:picMkLst>
            <pc:docMk/>
            <pc:sldMk cId="3570833389" sldId="343"/>
            <ac:picMk id="11" creationId="{97E2A2B6-0502-4575-A049-DF30053E942E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31:05.510" v="987" actId="1076"/>
          <ac:picMkLst>
            <pc:docMk/>
            <pc:sldMk cId="3570833389" sldId="343"/>
            <ac:picMk id="16" creationId="{064B78E5-D326-4BD5-8F8F-4F6AAEA1BAA2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31:02.509" v="986" actId="1076"/>
          <ac:picMkLst>
            <pc:docMk/>
            <pc:sldMk cId="3570833389" sldId="343"/>
            <ac:picMk id="17" creationId="{46C98616-81E6-4C54-A711-FA57AE9F2985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30:59.884" v="985" actId="1076"/>
          <ac:picMkLst>
            <pc:docMk/>
            <pc:sldMk cId="3570833389" sldId="343"/>
            <ac:picMk id="18" creationId="{2BE709C7-EC7B-428F-9128-277821090752}"/>
          </ac:picMkLst>
        </pc:picChg>
      </pc:sldChg>
      <pc:sldChg chg="addSp delSp modSp add del replId">
        <pc:chgData name="Hamila Naoufel" userId="S::naoufel.hamila@inetum.com::e965c851-6e2b-4d98-9bc8-c6a9879c5eb9" providerId="AD" clId="Web-{A04C8C0C-AFF3-8024-33F4-367C079B0408}" dt="2022-02-11T14:20:50.598" v="927"/>
        <pc:sldMkLst>
          <pc:docMk/>
          <pc:sldMk cId="2046929449" sldId="344"/>
        </pc:sldMkLst>
        <pc:spChg chg="mod">
          <ac:chgData name="Hamila Naoufel" userId="S::naoufel.hamila@inetum.com::e965c851-6e2b-4d98-9bc8-c6a9879c5eb9" providerId="AD" clId="Web-{A04C8C0C-AFF3-8024-33F4-367C079B0408}" dt="2022-02-11T12:46:45.822" v="500" actId="1076"/>
          <ac:spMkLst>
            <pc:docMk/>
            <pc:sldMk cId="2046929449" sldId="344"/>
            <ac:spMk id="12" creationId="{34376624-41CE-4E11-A3DB-DFFCB4F51E21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19" creationId="{B2E69C04-FAD3-4F21-9EFC-ACDB085E103A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0" creationId="{39C810BE-2A5D-42B6-BCD2-7EE2DB96642E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1" creationId="{7767D840-B244-4CF2-8598-739D92F1D0CA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2" creationId="{7CF1060D-5648-4E6B-82DF-8F21A4D0A545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3" creationId="{A232D1DC-A600-46D1-8CCD-F38CC3670F6C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4" creationId="{17484E9C-DD51-4CE8-B729-CACE0BD2D7B5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5" creationId="{E3D6519B-0C42-4D5D-B3E3-31D59931DC27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6" creationId="{2968595A-AA05-42B5-93CE-85B6BAE8CC86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7" creationId="{F563D34F-E5F0-4921-8533-E4F2D11441A5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8" creationId="{6BB9213D-95D9-4101-B8E8-38DBE42BA4D0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29" creationId="{D0D88B9B-6158-4AF3-BD19-1528379552E4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0" creationId="{C297723C-8C58-4F09-BFD5-BCD8AA8AB5A4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1" creationId="{4431CB70-1010-49CF-8966-18AA53CA9504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2" creationId="{D350CCCF-9A1B-406D-B290-CADA61B825B7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3" creationId="{E83BF131-3F27-4D8B-8B7E-42B83B93E27A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4" creationId="{C5107B77-47F2-419F-B654-99F552B3FA56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5" creationId="{9E9B6F72-4AF9-46C7-9C5F-6935E5AC68CD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6" creationId="{95D32009-BB6D-4026-BD88-66B814705479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7" creationId="{AE21C594-BCC5-4FE2-8738-F83FEAD81B7A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8" creationId="{CF2C1CBE-AE95-438E-BDD5-0A7D2DDDC567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39" creationId="{D673EB66-CA2A-4D9B-84CF-8A4C844CCC1B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40" creationId="{2FB0F17F-7CB2-4741-A5EB-E7A2C70EBEC2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41" creationId="{313B0DCA-D4F2-44B1-BA45-35183B7C362A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42" creationId="{1973E38F-4B79-41AA-8E86-079BAE593E56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43" creationId="{4D406CC6-BD7B-4B0F-8A65-6CC2FAFC33AE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06.448" v="514"/>
          <ac:spMkLst>
            <pc:docMk/>
            <pc:sldMk cId="2046929449" sldId="344"/>
            <ac:spMk id="44" creationId="{C65E7E73-6C05-4EFD-957C-3C83E84393C7}"/>
          </ac:spMkLst>
        </pc:spChg>
        <pc:grpChg chg="add">
          <ac:chgData name="Hamila Naoufel" userId="S::naoufel.hamila@inetum.com::e965c851-6e2b-4d98-9bc8-c6a9879c5eb9" providerId="AD" clId="Web-{A04C8C0C-AFF3-8024-33F4-367C079B0408}" dt="2022-02-11T12:47:06.448" v="514"/>
          <ac:grpSpMkLst>
            <pc:docMk/>
            <pc:sldMk cId="2046929449" sldId="344"/>
            <ac:grpSpMk id="5" creationId="{43943AC2-90FB-4642-B493-9D347B66D564}"/>
          </ac:grpSpMkLst>
        </pc:grpChg>
        <pc:grpChg chg="add mod">
          <ac:chgData name="Hamila Naoufel" userId="S::naoufel.hamila@inetum.com::e965c851-6e2b-4d98-9bc8-c6a9879c5eb9" providerId="AD" clId="Web-{A04C8C0C-AFF3-8024-33F4-367C079B0408}" dt="2022-02-11T12:47:15.370" v="515" actId="1076"/>
          <ac:grpSpMkLst>
            <pc:docMk/>
            <pc:sldMk cId="2046929449" sldId="344"/>
            <ac:grpSpMk id="6" creationId="{C27DCC3B-FA89-4851-BADB-A0CDFDD286AC}"/>
          </ac:grpSpMkLst>
        </pc:grpChg>
        <pc:grpChg chg="add mod">
          <ac:chgData name="Hamila Naoufel" userId="S::naoufel.hamila@inetum.com::e965c851-6e2b-4d98-9bc8-c6a9879c5eb9" providerId="AD" clId="Web-{A04C8C0C-AFF3-8024-33F4-367C079B0408}" dt="2022-02-11T12:47:15.385" v="516" actId="1076"/>
          <ac:grpSpMkLst>
            <pc:docMk/>
            <pc:sldMk cId="2046929449" sldId="344"/>
            <ac:grpSpMk id="7" creationId="{651F6643-F562-4A55-9443-2D449B5D23EA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06.448" v="514"/>
          <ac:grpSpMkLst>
            <pc:docMk/>
            <pc:sldMk cId="2046929449" sldId="344"/>
            <ac:grpSpMk id="8" creationId="{35C57907-1B43-44F9-B932-C0F800A5A276}"/>
          </ac:grpSpMkLst>
        </pc:grpChg>
        <pc:grpChg chg="add mod">
          <ac:chgData name="Hamila Naoufel" userId="S::naoufel.hamila@inetum.com::e965c851-6e2b-4d98-9bc8-c6a9879c5eb9" providerId="AD" clId="Web-{A04C8C0C-AFF3-8024-33F4-367C079B0408}" dt="2022-02-11T12:47:15.401" v="517" actId="1076"/>
          <ac:grpSpMkLst>
            <pc:docMk/>
            <pc:sldMk cId="2046929449" sldId="344"/>
            <ac:grpSpMk id="9" creationId="{7C4452D9-2BE9-4B72-ACFF-4BC6C2B7C4DC}"/>
          </ac:grpSpMkLst>
        </pc:grpChg>
        <pc:grpChg chg="add mod">
          <ac:chgData name="Hamila Naoufel" userId="S::naoufel.hamila@inetum.com::e965c851-6e2b-4d98-9bc8-c6a9879c5eb9" providerId="AD" clId="Web-{A04C8C0C-AFF3-8024-33F4-367C079B0408}" dt="2022-02-11T12:47:15.417" v="518" actId="1076"/>
          <ac:grpSpMkLst>
            <pc:docMk/>
            <pc:sldMk cId="2046929449" sldId="344"/>
            <ac:grpSpMk id="10" creationId="{E7C72D44-1EA2-4F5B-B568-1E7B5866BD52}"/>
          </ac:grpSpMkLst>
        </pc:grpChg>
        <pc:grpChg chg="add mod">
          <ac:chgData name="Hamila Naoufel" userId="S::naoufel.hamila@inetum.com::e965c851-6e2b-4d98-9bc8-c6a9879c5eb9" providerId="AD" clId="Web-{A04C8C0C-AFF3-8024-33F4-367C079B0408}" dt="2022-02-11T12:47:15.448" v="519" actId="1076"/>
          <ac:grpSpMkLst>
            <pc:docMk/>
            <pc:sldMk cId="2046929449" sldId="344"/>
            <ac:grpSpMk id="11" creationId="{1DE4CADD-EC70-4D30-AF39-243BC491C1CE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06.448" v="514"/>
          <ac:grpSpMkLst>
            <pc:docMk/>
            <pc:sldMk cId="2046929449" sldId="344"/>
            <ac:grpSpMk id="13" creationId="{A116FF3D-8DA6-4154-8B3C-68047FF089F9}"/>
          </ac:grpSpMkLst>
        </pc:grpChg>
        <pc:grpChg chg="add mod">
          <ac:chgData name="Hamila Naoufel" userId="S::naoufel.hamila@inetum.com::e965c851-6e2b-4d98-9bc8-c6a9879c5eb9" providerId="AD" clId="Web-{A04C8C0C-AFF3-8024-33F4-367C079B0408}" dt="2022-02-11T12:47:15.448" v="520" actId="1076"/>
          <ac:grpSpMkLst>
            <pc:docMk/>
            <pc:sldMk cId="2046929449" sldId="344"/>
            <ac:grpSpMk id="14" creationId="{7B82E2F4-6B28-4A39-9DC9-48539DC091D1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06.448" v="514"/>
          <ac:grpSpMkLst>
            <pc:docMk/>
            <pc:sldMk cId="2046929449" sldId="344"/>
            <ac:grpSpMk id="15" creationId="{8F874E62-8A1B-4DEF-9988-CFE9E0DF214D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06.448" v="514"/>
          <ac:grpSpMkLst>
            <pc:docMk/>
            <pc:sldMk cId="2046929449" sldId="344"/>
            <ac:grpSpMk id="16" creationId="{A28DF82D-D5B8-48D5-80A7-34BCD68CB22A}"/>
          </ac:grpSpMkLst>
        </pc:grpChg>
        <pc:grpChg chg="add mod">
          <ac:chgData name="Hamila Naoufel" userId="S::naoufel.hamila@inetum.com::e965c851-6e2b-4d98-9bc8-c6a9879c5eb9" providerId="AD" clId="Web-{A04C8C0C-AFF3-8024-33F4-367C079B0408}" dt="2022-02-11T12:47:15.464" v="521" actId="1076"/>
          <ac:grpSpMkLst>
            <pc:docMk/>
            <pc:sldMk cId="2046929449" sldId="344"/>
            <ac:grpSpMk id="17" creationId="{5B27015D-47C8-421C-8BD8-E37230B7E34C}"/>
          </ac:grpSpMkLst>
        </pc:grpChg>
        <pc:grpChg chg="add mod">
          <ac:chgData name="Hamila Naoufel" userId="S::naoufel.hamila@inetum.com::e965c851-6e2b-4d98-9bc8-c6a9879c5eb9" providerId="AD" clId="Web-{A04C8C0C-AFF3-8024-33F4-367C079B0408}" dt="2022-02-11T12:47:15.479" v="522" actId="1076"/>
          <ac:grpSpMkLst>
            <pc:docMk/>
            <pc:sldMk cId="2046929449" sldId="344"/>
            <ac:grpSpMk id="18" creationId="{C6C1B400-4696-4181-89A2-9A49DA9E8F21}"/>
          </ac:grpSpMkLst>
        </pc:grpChg>
        <pc:graphicFrameChg chg="del mod modGraphic">
          <ac:chgData name="Hamila Naoufel" userId="S::naoufel.hamila@inetum.com::e965c851-6e2b-4d98-9bc8-c6a9879c5eb9" providerId="AD" clId="Web-{A04C8C0C-AFF3-8024-33F4-367C079B0408}" dt="2022-02-11T12:46:27.697" v="494"/>
          <ac:graphicFrameMkLst>
            <pc:docMk/>
            <pc:sldMk cId="2046929449" sldId="344"/>
            <ac:graphicFrameMk id="2" creationId="{E8489C92-5134-4637-A579-A9E3F2F7261D}"/>
          </ac:graphicFrameMkLst>
        </pc:graphicFrameChg>
      </pc:sldChg>
      <pc:sldChg chg="addSp delSp modSp add del replId">
        <pc:chgData name="Hamila Naoufel" userId="S::naoufel.hamila@inetum.com::e965c851-6e2b-4d98-9bc8-c6a9879c5eb9" providerId="AD" clId="Web-{A04C8C0C-AFF3-8024-33F4-367C079B0408}" dt="2022-02-11T14:20:29.878" v="926"/>
        <pc:sldMkLst>
          <pc:docMk/>
          <pc:sldMk cId="2713969303" sldId="345"/>
        </pc:sldMkLst>
        <pc:spChg chg="add del mod">
          <ac:chgData name="Hamila Naoufel" userId="S::naoufel.hamila@inetum.com::e965c851-6e2b-4d98-9bc8-c6a9879c5eb9" providerId="AD" clId="Web-{A04C8C0C-AFF3-8024-33F4-367C079B0408}" dt="2022-02-11T12:47:52.386" v="540"/>
          <ac:spMkLst>
            <pc:docMk/>
            <pc:sldMk cId="2713969303" sldId="345"/>
            <ac:spMk id="3" creationId="{0E852A6A-7D97-4DDD-AF33-483DA1CB8A35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2:47:47.996" v="538"/>
          <ac:spMkLst>
            <pc:docMk/>
            <pc:sldMk cId="2713969303" sldId="345"/>
            <ac:spMk id="4" creationId="{5DD0E354-6051-4A06-AC77-69F39167A79F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2:47:48.027" v="539"/>
          <ac:spMkLst>
            <pc:docMk/>
            <pc:sldMk cId="2713969303" sldId="345"/>
            <ac:spMk id="12" creationId="{34376624-41CE-4E11-A3DB-DFFCB4F51E21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4.261" v="546"/>
          <ac:spMkLst>
            <pc:docMk/>
            <pc:sldMk cId="2713969303" sldId="345"/>
            <ac:spMk id="56" creationId="{A43C553E-D1CF-4BFF-98F5-80AA92D7E809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2:47:54.277" v="547"/>
          <ac:spMkLst>
            <pc:docMk/>
            <pc:sldMk cId="2713969303" sldId="345"/>
            <ac:spMk id="58" creationId="{50B72D10-BD0D-44FA-AC53-C02EC2995327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4.339" v="549"/>
          <ac:spMkLst>
            <pc:docMk/>
            <pc:sldMk cId="2713969303" sldId="345"/>
            <ac:spMk id="62" creationId="{F939A7CE-FEEE-4079-A67A-E2E59B89740C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4.386" v="551"/>
          <ac:spMkLst>
            <pc:docMk/>
            <pc:sldMk cId="2713969303" sldId="345"/>
            <ac:spMk id="68" creationId="{4924F8E5-1A77-491E-BE6D-FD5DD75F7CE4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4.402" v="552"/>
          <ac:spMkLst>
            <pc:docMk/>
            <pc:sldMk cId="2713969303" sldId="345"/>
            <ac:spMk id="70" creationId="{958EE086-AE95-4A67-85CA-EF073F28F6F0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4.418" v="553"/>
          <ac:spMkLst>
            <pc:docMk/>
            <pc:sldMk cId="2713969303" sldId="345"/>
            <ac:spMk id="72" creationId="{D05EF92D-A127-4615-BE81-1880731A5604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214" v="579"/>
          <ac:spMkLst>
            <pc:docMk/>
            <pc:sldMk cId="2713969303" sldId="345"/>
            <ac:spMk id="190" creationId="{1DE9B2EE-5A64-4B1B-A68E-1CF62683DDFE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402" v="584"/>
          <ac:spMkLst>
            <pc:docMk/>
            <pc:sldMk cId="2713969303" sldId="345"/>
            <ac:spMk id="208" creationId="{6381FB95-EA2B-470F-9BA8-5C80C7F1009F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480" v="586"/>
          <ac:spMkLst>
            <pc:docMk/>
            <pc:sldMk cId="2713969303" sldId="345"/>
            <ac:spMk id="214" creationId="{0B47B3ED-6111-4541-A9DB-7626CC34F45B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543" v="588"/>
          <ac:spMkLst>
            <pc:docMk/>
            <pc:sldMk cId="2713969303" sldId="345"/>
            <ac:spMk id="220" creationId="{5B22CC79-CD80-45A6-BDE7-C54DF603311E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589" v="589"/>
          <ac:spMkLst>
            <pc:docMk/>
            <pc:sldMk cId="2713969303" sldId="345"/>
            <ac:spMk id="222" creationId="{299948EC-E323-4B2F-99A0-C1A03D626122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621" v="590"/>
          <ac:spMkLst>
            <pc:docMk/>
            <pc:sldMk cId="2713969303" sldId="345"/>
            <ac:spMk id="224" creationId="{5E7D718A-E7E4-4E77-8A9D-9DE4B9B57770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652" v="591"/>
          <ac:spMkLst>
            <pc:docMk/>
            <pc:sldMk cId="2713969303" sldId="345"/>
            <ac:spMk id="226" creationId="{04311AA7-8FF7-47DD-AC33-0AD6EC045ECD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839" v="595"/>
          <ac:spMkLst>
            <pc:docMk/>
            <pc:sldMk cId="2713969303" sldId="345"/>
            <ac:spMk id="244" creationId="{9461396E-551D-466B-BC66-CF74C19F21D4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871" v="596"/>
          <ac:spMkLst>
            <pc:docMk/>
            <pc:sldMk cId="2713969303" sldId="345"/>
            <ac:spMk id="246" creationId="{5A420F28-CFBB-40D6-8A0E-E776EF52F6C8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5.964" v="598"/>
          <ac:spMkLst>
            <pc:docMk/>
            <pc:sldMk cId="2713969303" sldId="345"/>
            <ac:spMk id="254" creationId="{70094BB3-B407-4E8C-8C45-0C545ACBB83B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214" v="603"/>
          <ac:spMkLst>
            <pc:docMk/>
            <pc:sldMk cId="2713969303" sldId="345"/>
            <ac:spMk id="280" creationId="{1F8B22D5-F2EA-41C7-88A9-431428F5E3C0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261" v="604"/>
          <ac:spMkLst>
            <pc:docMk/>
            <pc:sldMk cId="2713969303" sldId="345"/>
            <ac:spMk id="282" creationId="{3751CE9B-6762-4F4F-8752-B2B9C801E327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308" v="605"/>
          <ac:spMkLst>
            <pc:docMk/>
            <pc:sldMk cId="2713969303" sldId="345"/>
            <ac:spMk id="284" creationId="{04026548-B375-4ADB-BDEB-247D280CE736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355" v="606"/>
          <ac:spMkLst>
            <pc:docMk/>
            <pc:sldMk cId="2713969303" sldId="345"/>
            <ac:spMk id="286" creationId="{4D267B77-0FB9-455B-9379-3D606930E847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402" v="607"/>
          <ac:spMkLst>
            <pc:docMk/>
            <pc:sldMk cId="2713969303" sldId="345"/>
            <ac:spMk id="288" creationId="{B6BAA9E3-1A02-495A-93FA-07A40341E09C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449" v="608"/>
          <ac:spMkLst>
            <pc:docMk/>
            <pc:sldMk cId="2713969303" sldId="345"/>
            <ac:spMk id="290" creationId="{2CBF9810-31C5-466F-976A-C91AEE32FACA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496" v="609"/>
          <ac:spMkLst>
            <pc:docMk/>
            <pc:sldMk cId="2713969303" sldId="345"/>
            <ac:spMk id="292" creationId="{9D366733-4190-4645-B209-759DB956280F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543" v="610"/>
          <ac:spMkLst>
            <pc:docMk/>
            <pc:sldMk cId="2713969303" sldId="345"/>
            <ac:spMk id="294" creationId="{D9A60AF4-3C93-4488-8FF8-116C9AEFE7D8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589" v="611"/>
          <ac:spMkLst>
            <pc:docMk/>
            <pc:sldMk cId="2713969303" sldId="345"/>
            <ac:spMk id="296" creationId="{82AB36E3-94D8-4628-9EC9-101D1426C6F0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636" v="612"/>
          <ac:spMkLst>
            <pc:docMk/>
            <pc:sldMk cId="2713969303" sldId="345"/>
            <ac:spMk id="298" creationId="{72E6DC5A-C2CD-4652-BA96-2211BCE4DA76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683" v="613"/>
          <ac:spMkLst>
            <pc:docMk/>
            <pc:sldMk cId="2713969303" sldId="345"/>
            <ac:spMk id="300" creationId="{EF05AED6-7CB7-4BB7-B090-B28D73C376E6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730" v="614"/>
          <ac:spMkLst>
            <pc:docMk/>
            <pc:sldMk cId="2713969303" sldId="345"/>
            <ac:spMk id="302" creationId="{60AAC440-7740-4BCB-9F89-891B700E579B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793" v="615"/>
          <ac:spMkLst>
            <pc:docMk/>
            <pc:sldMk cId="2713969303" sldId="345"/>
            <ac:spMk id="304" creationId="{FA719B8F-1172-42D4-80D6-C32DD578C60E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839" v="616"/>
          <ac:spMkLst>
            <pc:docMk/>
            <pc:sldMk cId="2713969303" sldId="345"/>
            <ac:spMk id="306" creationId="{910BC6B7-788A-4B6D-8B6D-38250A802A4F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886" v="617"/>
          <ac:spMkLst>
            <pc:docMk/>
            <pc:sldMk cId="2713969303" sldId="345"/>
            <ac:spMk id="308" creationId="{32C7F18A-4B0D-47FC-BAA9-A0363C87F97C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933" v="618"/>
          <ac:spMkLst>
            <pc:docMk/>
            <pc:sldMk cId="2713969303" sldId="345"/>
            <ac:spMk id="310" creationId="{72A5F278-04F0-47E6-B211-F403EEED3095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6.996" v="619"/>
          <ac:spMkLst>
            <pc:docMk/>
            <pc:sldMk cId="2713969303" sldId="345"/>
            <ac:spMk id="312" creationId="{1B7B6D60-8363-4B1F-A1D1-9FA1654DFD4F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043" v="620"/>
          <ac:spMkLst>
            <pc:docMk/>
            <pc:sldMk cId="2713969303" sldId="345"/>
            <ac:spMk id="314" creationId="{2E12182A-2FAE-4713-B54B-F5145A3F2841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089" v="621"/>
          <ac:spMkLst>
            <pc:docMk/>
            <pc:sldMk cId="2713969303" sldId="345"/>
            <ac:spMk id="316" creationId="{0386A679-E032-4D88-B750-DD0406A5CA7D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136" v="622"/>
          <ac:spMkLst>
            <pc:docMk/>
            <pc:sldMk cId="2713969303" sldId="345"/>
            <ac:spMk id="318" creationId="{E8DDE2D5-B3A5-4446-9A73-4D11DDCB638D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199" v="623"/>
          <ac:spMkLst>
            <pc:docMk/>
            <pc:sldMk cId="2713969303" sldId="345"/>
            <ac:spMk id="320" creationId="{B59581F4-3A6B-42A9-854C-141C07AE60A1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246" v="624"/>
          <ac:spMkLst>
            <pc:docMk/>
            <pc:sldMk cId="2713969303" sldId="345"/>
            <ac:spMk id="322" creationId="{BE513AFA-06AB-44DF-A10E-DC073FC3FFEF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308" v="625"/>
          <ac:spMkLst>
            <pc:docMk/>
            <pc:sldMk cId="2713969303" sldId="345"/>
            <ac:spMk id="324" creationId="{4D813E38-4865-406C-8587-9C20D980E55F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355" v="626"/>
          <ac:spMkLst>
            <pc:docMk/>
            <pc:sldMk cId="2713969303" sldId="345"/>
            <ac:spMk id="326" creationId="{D1FEAA5B-554F-4AE2-A5E3-ED04D72770FA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402" v="627"/>
          <ac:spMkLst>
            <pc:docMk/>
            <pc:sldMk cId="2713969303" sldId="345"/>
            <ac:spMk id="328" creationId="{EEC627EA-3012-4580-8FF3-8EAB8BF602F0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465" v="628"/>
          <ac:spMkLst>
            <pc:docMk/>
            <pc:sldMk cId="2713969303" sldId="345"/>
            <ac:spMk id="330" creationId="{B719C03F-3DA9-4F20-80F5-7CA4B72B56F6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511" v="629"/>
          <ac:spMkLst>
            <pc:docMk/>
            <pc:sldMk cId="2713969303" sldId="345"/>
            <ac:spMk id="332" creationId="{20D245C7-88A8-485F-AC31-EBC60F6BB32C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574" v="630"/>
          <ac:spMkLst>
            <pc:docMk/>
            <pc:sldMk cId="2713969303" sldId="345"/>
            <ac:spMk id="334" creationId="{59CA974B-9D70-487F-9C7D-7EB185607C4B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621" v="631"/>
          <ac:spMkLst>
            <pc:docMk/>
            <pc:sldMk cId="2713969303" sldId="345"/>
            <ac:spMk id="336" creationId="{2F6FB125-D59F-4518-A912-61D4055D0F3C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668" v="632"/>
          <ac:spMkLst>
            <pc:docMk/>
            <pc:sldMk cId="2713969303" sldId="345"/>
            <ac:spMk id="338" creationId="{6F0A1FE5-C09B-4A60-A1FB-9F8CFE833EA1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730" v="633"/>
          <ac:spMkLst>
            <pc:docMk/>
            <pc:sldMk cId="2713969303" sldId="345"/>
            <ac:spMk id="340" creationId="{47EBB183-5453-4763-A630-71B505700309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777" v="634"/>
          <ac:spMkLst>
            <pc:docMk/>
            <pc:sldMk cId="2713969303" sldId="345"/>
            <ac:spMk id="342" creationId="{10D41743-578D-4403-BEAF-4A385113D79A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840" v="635"/>
          <ac:spMkLst>
            <pc:docMk/>
            <pc:sldMk cId="2713969303" sldId="345"/>
            <ac:spMk id="344" creationId="{F114938C-AA74-4EA0-86B6-7D27240B0A8B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886" v="636"/>
          <ac:spMkLst>
            <pc:docMk/>
            <pc:sldMk cId="2713969303" sldId="345"/>
            <ac:spMk id="346" creationId="{5505C488-606B-47F7-8334-17A945D72D14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7.949" v="637"/>
          <ac:spMkLst>
            <pc:docMk/>
            <pc:sldMk cId="2713969303" sldId="345"/>
            <ac:spMk id="348" creationId="{932AD376-4504-4BDF-9D8F-0A531BE4FCA6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8.011" v="638"/>
          <ac:spMkLst>
            <pc:docMk/>
            <pc:sldMk cId="2713969303" sldId="345"/>
            <ac:spMk id="350" creationId="{1A64D1D6-EFFE-4369-B33B-CF590D3A3500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8.058" v="639"/>
          <ac:spMkLst>
            <pc:docMk/>
            <pc:sldMk cId="2713969303" sldId="345"/>
            <ac:spMk id="352" creationId="{1004E23D-4A41-4C2E-B0E6-6DDAB9AC2F6B}"/>
          </ac:spMkLst>
        </pc:spChg>
        <pc:spChg chg="add">
          <ac:chgData name="Hamila Naoufel" userId="S::naoufel.hamila@inetum.com::e965c851-6e2b-4d98-9bc8-c6a9879c5eb9" providerId="AD" clId="Web-{A04C8C0C-AFF3-8024-33F4-367C079B0408}" dt="2022-02-11T12:47:58.121" v="640"/>
          <ac:spMkLst>
            <pc:docMk/>
            <pc:sldMk cId="2713969303" sldId="345"/>
            <ac:spMk id="354" creationId="{C33FF2EF-1264-486D-91E7-0E896C5E22F0}"/>
          </ac:spMkLst>
        </pc:spChg>
        <pc:grpChg chg="del">
          <ac:chgData name="Hamila Naoufel" userId="S::naoufel.hamila@inetum.com::e965c851-6e2b-4d98-9bc8-c6a9879c5eb9" providerId="AD" clId="Web-{A04C8C0C-AFF3-8024-33F4-367C079B0408}" dt="2022-02-11T12:47:47.996" v="537"/>
          <ac:grpSpMkLst>
            <pc:docMk/>
            <pc:sldMk cId="2713969303" sldId="345"/>
            <ac:grpSpMk id="5" creationId="{43943AC2-90FB-4642-B493-9D347B66D564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36"/>
          <ac:grpSpMkLst>
            <pc:docMk/>
            <pc:sldMk cId="2713969303" sldId="345"/>
            <ac:grpSpMk id="6" creationId="{C27DCC3B-FA89-4851-BADB-A0CDFDD286AC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35"/>
          <ac:grpSpMkLst>
            <pc:docMk/>
            <pc:sldMk cId="2713969303" sldId="345"/>
            <ac:grpSpMk id="7" creationId="{651F6643-F562-4A55-9443-2D449B5D23EA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34"/>
          <ac:grpSpMkLst>
            <pc:docMk/>
            <pc:sldMk cId="2713969303" sldId="345"/>
            <ac:grpSpMk id="8" creationId="{35C57907-1B43-44F9-B932-C0F800A5A276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33"/>
          <ac:grpSpMkLst>
            <pc:docMk/>
            <pc:sldMk cId="2713969303" sldId="345"/>
            <ac:grpSpMk id="9" creationId="{7C4452D9-2BE9-4B72-ACFF-4BC6C2B7C4DC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32"/>
          <ac:grpSpMkLst>
            <pc:docMk/>
            <pc:sldMk cId="2713969303" sldId="345"/>
            <ac:grpSpMk id="10" creationId="{E7C72D44-1EA2-4F5B-B568-1E7B5866BD52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31"/>
          <ac:grpSpMkLst>
            <pc:docMk/>
            <pc:sldMk cId="2713969303" sldId="345"/>
            <ac:grpSpMk id="11" creationId="{1DE4CADD-EC70-4D30-AF39-243BC491C1CE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30"/>
          <ac:grpSpMkLst>
            <pc:docMk/>
            <pc:sldMk cId="2713969303" sldId="345"/>
            <ac:grpSpMk id="13" creationId="{A116FF3D-8DA6-4154-8B3C-68047FF089F9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29"/>
          <ac:grpSpMkLst>
            <pc:docMk/>
            <pc:sldMk cId="2713969303" sldId="345"/>
            <ac:grpSpMk id="14" creationId="{7B82E2F4-6B28-4A39-9DC9-48539DC091D1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28"/>
          <ac:grpSpMkLst>
            <pc:docMk/>
            <pc:sldMk cId="2713969303" sldId="345"/>
            <ac:grpSpMk id="15" creationId="{8F874E62-8A1B-4DEF-9988-CFE9E0DF214D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27"/>
          <ac:grpSpMkLst>
            <pc:docMk/>
            <pc:sldMk cId="2713969303" sldId="345"/>
            <ac:grpSpMk id="16" creationId="{A28DF82D-D5B8-48D5-80A7-34BCD68CB22A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26"/>
          <ac:grpSpMkLst>
            <pc:docMk/>
            <pc:sldMk cId="2713969303" sldId="345"/>
            <ac:grpSpMk id="17" creationId="{5B27015D-47C8-421C-8BD8-E37230B7E34C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2:47:47.996" v="525"/>
          <ac:grpSpMkLst>
            <pc:docMk/>
            <pc:sldMk cId="2713969303" sldId="345"/>
            <ac:grpSpMk id="18" creationId="{C6C1B400-4696-4181-89A2-9A49DA9E8F21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371" v="550"/>
          <ac:grpSpMkLst>
            <pc:docMk/>
            <pc:sldMk cId="2713969303" sldId="345"/>
            <ac:grpSpMk id="66" creationId="{31F48015-A299-4DDF-A5EE-DC5F3FF6D65D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433" v="554"/>
          <ac:grpSpMkLst>
            <pc:docMk/>
            <pc:sldMk cId="2713969303" sldId="345"/>
            <ac:grpSpMk id="76" creationId="{A67F99AA-3507-4CF1-B508-C2D8F6F66C6A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449" v="555"/>
          <ac:grpSpMkLst>
            <pc:docMk/>
            <pc:sldMk cId="2713969303" sldId="345"/>
            <ac:grpSpMk id="80" creationId="{3A5AC431-94A9-481B-A9AB-5866B131BD92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480" v="556"/>
          <ac:grpSpMkLst>
            <pc:docMk/>
            <pc:sldMk cId="2713969303" sldId="345"/>
            <ac:grpSpMk id="84" creationId="{A99B3D0B-673B-42E4-BEB5-3733886A0C7A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496" v="557"/>
          <ac:grpSpMkLst>
            <pc:docMk/>
            <pc:sldMk cId="2713969303" sldId="345"/>
            <ac:grpSpMk id="88" creationId="{5084B219-B6FF-4D7C-8674-85C3B4234A69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511" v="558"/>
          <ac:grpSpMkLst>
            <pc:docMk/>
            <pc:sldMk cId="2713969303" sldId="345"/>
            <ac:grpSpMk id="92" creationId="{81311156-6FB6-41F3-9245-C9ECCDE413D1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543" v="559"/>
          <ac:grpSpMkLst>
            <pc:docMk/>
            <pc:sldMk cId="2713969303" sldId="345"/>
            <ac:grpSpMk id="96" creationId="{FC7BBDC6-222A-48F2-B948-E8B2F61C4AF2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574" v="560"/>
          <ac:grpSpMkLst>
            <pc:docMk/>
            <pc:sldMk cId="2713969303" sldId="345"/>
            <ac:grpSpMk id="100" creationId="{CE6A62B4-9E2B-4007-A72B-8C628B91FAB2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589" v="561"/>
          <ac:grpSpMkLst>
            <pc:docMk/>
            <pc:sldMk cId="2713969303" sldId="345"/>
            <ac:grpSpMk id="104" creationId="{55AD1534-4083-4836-9FA5-2096064FD6DF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621" v="562"/>
          <ac:grpSpMkLst>
            <pc:docMk/>
            <pc:sldMk cId="2713969303" sldId="345"/>
            <ac:grpSpMk id="108" creationId="{747A71B7-6645-4712-96DA-3E1398378452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636" v="563"/>
          <ac:grpSpMkLst>
            <pc:docMk/>
            <pc:sldMk cId="2713969303" sldId="345"/>
            <ac:grpSpMk id="112" creationId="{8FAA54E2-E9D6-42C4-9616-60006ED9A417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668" v="564"/>
          <ac:grpSpMkLst>
            <pc:docMk/>
            <pc:sldMk cId="2713969303" sldId="345"/>
            <ac:grpSpMk id="116" creationId="{866BF1B3-72AC-46E7-B539-6D9CCE1FC0BE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699" v="565"/>
          <ac:grpSpMkLst>
            <pc:docMk/>
            <pc:sldMk cId="2713969303" sldId="345"/>
            <ac:grpSpMk id="120" creationId="{F30E3373-31AC-4D10-A38E-25033BE7D5E7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730" v="566"/>
          <ac:grpSpMkLst>
            <pc:docMk/>
            <pc:sldMk cId="2713969303" sldId="345"/>
            <ac:grpSpMk id="128" creationId="{227D8E08-AC75-4030-832A-83BA1C76B8B6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824" v="568"/>
          <ac:grpSpMkLst>
            <pc:docMk/>
            <pc:sldMk cId="2713969303" sldId="345"/>
            <ac:grpSpMk id="140" creationId="{CB0837C4-6FE5-4258-8BE2-7A2364139351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855" v="569"/>
          <ac:grpSpMkLst>
            <pc:docMk/>
            <pc:sldMk cId="2713969303" sldId="345"/>
            <ac:grpSpMk id="144" creationId="{D9E1B12F-6890-4A0F-B4A4-8545CE7749C4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886" v="570"/>
          <ac:grpSpMkLst>
            <pc:docMk/>
            <pc:sldMk cId="2713969303" sldId="345"/>
            <ac:grpSpMk id="150" creationId="{488DE346-E649-4A42-8EDE-6B3848371342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918" v="571"/>
          <ac:grpSpMkLst>
            <pc:docMk/>
            <pc:sldMk cId="2713969303" sldId="345"/>
            <ac:grpSpMk id="154" creationId="{306AF02F-A211-4C01-B00C-478671A8BB72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949" v="572"/>
          <ac:grpSpMkLst>
            <pc:docMk/>
            <pc:sldMk cId="2713969303" sldId="345"/>
            <ac:grpSpMk id="158" creationId="{AC53DB5E-E0F8-4E3B-AAE6-FCD4B48FB2D4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4.996" v="573"/>
          <ac:grpSpMkLst>
            <pc:docMk/>
            <pc:sldMk cId="2713969303" sldId="345"/>
            <ac:grpSpMk id="164" creationId="{B339ACDA-3847-422B-9A87-1D27B2930C99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027" v="574"/>
          <ac:grpSpMkLst>
            <pc:docMk/>
            <pc:sldMk cId="2713969303" sldId="345"/>
            <ac:grpSpMk id="170" creationId="{F4F1E684-CA7B-4575-8C8C-D8676499F8BB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074" v="575"/>
          <ac:grpSpMkLst>
            <pc:docMk/>
            <pc:sldMk cId="2713969303" sldId="345"/>
            <ac:grpSpMk id="176" creationId="{483B04EF-4FA4-4213-AAB8-2B2DA94DF877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105" v="576"/>
          <ac:grpSpMkLst>
            <pc:docMk/>
            <pc:sldMk cId="2713969303" sldId="345"/>
            <ac:grpSpMk id="180" creationId="{ACF512FF-E6CA-461B-BB46-7C3E88AF4F3C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152" v="577"/>
          <ac:grpSpMkLst>
            <pc:docMk/>
            <pc:sldMk cId="2713969303" sldId="345"/>
            <ac:grpSpMk id="184" creationId="{B9681654-D753-4BAD-B290-00A4BFE38E9E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183" v="578"/>
          <ac:grpSpMkLst>
            <pc:docMk/>
            <pc:sldMk cId="2713969303" sldId="345"/>
            <ac:grpSpMk id="188" creationId="{25633AFE-E44F-4B27-B214-AA9EB5E49AD3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246" v="580"/>
          <ac:grpSpMkLst>
            <pc:docMk/>
            <pc:sldMk cId="2713969303" sldId="345"/>
            <ac:grpSpMk id="194" creationId="{60142F04-6F05-4657-B47A-BBD01553BC35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293" v="581"/>
          <ac:grpSpMkLst>
            <pc:docMk/>
            <pc:sldMk cId="2713969303" sldId="345"/>
            <ac:grpSpMk id="198" creationId="{29967B19-4F09-478C-A99B-CB8B19A4F994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324" v="582"/>
          <ac:grpSpMkLst>
            <pc:docMk/>
            <pc:sldMk cId="2713969303" sldId="345"/>
            <ac:grpSpMk id="202" creationId="{F09FF1A6-FA5D-478E-AE47-3EA59A1B64F6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355" v="583"/>
          <ac:grpSpMkLst>
            <pc:docMk/>
            <pc:sldMk cId="2713969303" sldId="345"/>
            <ac:grpSpMk id="206" creationId="{90823015-1B9B-4B48-A247-D0DE2FA13314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433" v="585"/>
          <ac:grpSpMkLst>
            <pc:docMk/>
            <pc:sldMk cId="2713969303" sldId="345"/>
            <ac:grpSpMk id="212" creationId="{CF126E9F-0D23-45D5-B8A5-D3382C790CC5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511" v="587"/>
          <ac:grpSpMkLst>
            <pc:docMk/>
            <pc:sldMk cId="2713969303" sldId="345"/>
            <ac:grpSpMk id="218" creationId="{DD6EDD67-FA61-4C89-A7AA-F41086EEF5AE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699" v="592"/>
          <ac:grpSpMkLst>
            <pc:docMk/>
            <pc:sldMk cId="2713969303" sldId="345"/>
            <ac:grpSpMk id="232" creationId="{ABFA55C1-375A-45FD-B96C-8C6E735F5678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746" v="593"/>
          <ac:grpSpMkLst>
            <pc:docMk/>
            <pc:sldMk cId="2713969303" sldId="345"/>
            <ac:grpSpMk id="238" creationId="{7FA427C9-E1D9-4106-8473-A6A8E8CECCD8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793" v="594"/>
          <ac:grpSpMkLst>
            <pc:docMk/>
            <pc:sldMk cId="2713969303" sldId="345"/>
            <ac:grpSpMk id="242" creationId="{FE5D408B-5C9D-48EF-B2BA-B92840A33842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5.918" v="597"/>
          <ac:grpSpMkLst>
            <pc:docMk/>
            <pc:sldMk cId="2713969303" sldId="345"/>
            <ac:grpSpMk id="252" creationId="{35DA37DD-36E9-4E70-A7ED-543D6620B2E0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6.011" v="599"/>
          <ac:grpSpMkLst>
            <pc:docMk/>
            <pc:sldMk cId="2713969303" sldId="345"/>
            <ac:grpSpMk id="260" creationId="{0AA61DAA-AD71-41F0-81EA-8DD7066A1AA9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6.058" v="600"/>
          <ac:grpSpMkLst>
            <pc:docMk/>
            <pc:sldMk cId="2713969303" sldId="345"/>
            <ac:grpSpMk id="266" creationId="{4379653A-4868-4730-99E4-CD1F87361456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6.121" v="601"/>
          <ac:grpSpMkLst>
            <pc:docMk/>
            <pc:sldMk cId="2713969303" sldId="345"/>
            <ac:grpSpMk id="272" creationId="{859D9415-8FA4-4D4B-98BA-AA1AEAEAA67C}"/>
          </ac:grpSpMkLst>
        </pc:grpChg>
        <pc:grpChg chg="add">
          <ac:chgData name="Hamila Naoufel" userId="S::naoufel.hamila@inetum.com::e965c851-6e2b-4d98-9bc8-c6a9879c5eb9" providerId="AD" clId="Web-{A04C8C0C-AFF3-8024-33F4-367C079B0408}" dt="2022-02-11T12:47:56.168" v="602"/>
          <ac:grpSpMkLst>
            <pc:docMk/>
            <pc:sldMk cId="2713969303" sldId="345"/>
            <ac:grpSpMk id="278" creationId="{8020D27D-3269-4425-A037-45068B03CDAB}"/>
          </ac:grpSpMkLst>
        </pc:grpChg>
        <pc:graphicFrameChg chg="add">
          <ac:chgData name="Hamila Naoufel" userId="S::naoufel.hamila@inetum.com::e965c851-6e2b-4d98-9bc8-c6a9879c5eb9" providerId="AD" clId="Web-{A04C8C0C-AFF3-8024-33F4-367C079B0408}" dt="2022-02-11T12:47:54.324" v="548"/>
          <ac:graphicFrameMkLst>
            <pc:docMk/>
            <pc:sldMk cId="2713969303" sldId="345"/>
            <ac:graphicFrameMk id="60" creationId="{CB44FF28-8AE8-4005-936C-D13E7DA645BE}"/>
          </ac:graphicFrameMkLst>
        </pc:graphicFrameChg>
        <pc:graphicFrameChg chg="add">
          <ac:chgData name="Hamila Naoufel" userId="S::naoufel.hamila@inetum.com::e965c851-6e2b-4d98-9bc8-c6a9879c5eb9" providerId="AD" clId="Web-{A04C8C0C-AFF3-8024-33F4-367C079B0408}" dt="2022-02-11T12:47:54.793" v="567"/>
          <ac:graphicFrameMkLst>
            <pc:docMk/>
            <pc:sldMk cId="2713969303" sldId="345"/>
            <ac:graphicFrameMk id="130" creationId="{BC086309-FDF1-4282-BDED-0B9A7508A59A}"/>
          </ac:graphicFrameMkLst>
        </pc:graphicFrameChg>
        <pc:cxnChg chg="add">
          <ac:chgData name="Hamila Naoufel" userId="S::naoufel.hamila@inetum.com::e965c851-6e2b-4d98-9bc8-c6a9879c5eb9" providerId="AD" clId="Web-{A04C8C0C-AFF3-8024-33F4-367C079B0408}" dt="2022-02-11T12:47:54.246" v="541"/>
          <ac:cxnSpMkLst>
            <pc:docMk/>
            <pc:sldMk cId="2713969303" sldId="345"/>
            <ac:cxnSpMk id="46" creationId="{5C85EAFB-BB99-4F09-BD1E-8BA2DD001A9C}"/>
          </ac:cxnSpMkLst>
        </pc:cxnChg>
        <pc:cxnChg chg="add">
          <ac:chgData name="Hamila Naoufel" userId="S::naoufel.hamila@inetum.com::e965c851-6e2b-4d98-9bc8-c6a9879c5eb9" providerId="AD" clId="Web-{A04C8C0C-AFF3-8024-33F4-367C079B0408}" dt="2022-02-11T12:47:54.246" v="542"/>
          <ac:cxnSpMkLst>
            <pc:docMk/>
            <pc:sldMk cId="2713969303" sldId="345"/>
            <ac:cxnSpMk id="48" creationId="{0E005F80-CA6C-42F2-A5D7-1AF828B0A151}"/>
          </ac:cxnSpMkLst>
        </pc:cxnChg>
        <pc:cxnChg chg="add">
          <ac:chgData name="Hamila Naoufel" userId="S::naoufel.hamila@inetum.com::e965c851-6e2b-4d98-9bc8-c6a9879c5eb9" providerId="AD" clId="Web-{A04C8C0C-AFF3-8024-33F4-367C079B0408}" dt="2022-02-11T12:47:54.261" v="543"/>
          <ac:cxnSpMkLst>
            <pc:docMk/>
            <pc:sldMk cId="2713969303" sldId="345"/>
            <ac:cxnSpMk id="50" creationId="{D63059C5-F474-4A78-A4D6-A0E459BF025C}"/>
          </ac:cxnSpMkLst>
        </pc:cxnChg>
        <pc:cxnChg chg="add">
          <ac:chgData name="Hamila Naoufel" userId="S::naoufel.hamila@inetum.com::e965c851-6e2b-4d98-9bc8-c6a9879c5eb9" providerId="AD" clId="Web-{A04C8C0C-AFF3-8024-33F4-367C079B0408}" dt="2022-02-11T12:47:54.261" v="544"/>
          <ac:cxnSpMkLst>
            <pc:docMk/>
            <pc:sldMk cId="2713969303" sldId="345"/>
            <ac:cxnSpMk id="52" creationId="{7FC689DA-E066-40EE-B220-54CB2F843BCD}"/>
          </ac:cxnSpMkLst>
        </pc:cxnChg>
        <pc:cxnChg chg="add">
          <ac:chgData name="Hamila Naoufel" userId="S::naoufel.hamila@inetum.com::e965c851-6e2b-4d98-9bc8-c6a9879c5eb9" providerId="AD" clId="Web-{A04C8C0C-AFF3-8024-33F4-367C079B0408}" dt="2022-02-11T12:47:54.261" v="545"/>
          <ac:cxnSpMkLst>
            <pc:docMk/>
            <pc:sldMk cId="2713969303" sldId="345"/>
            <ac:cxnSpMk id="54" creationId="{4F9CFF33-2479-4CC2-BA48-05246F93D247}"/>
          </ac:cxnSpMkLst>
        </pc:cxnChg>
      </pc:sldChg>
      <pc:sldChg chg="addSp delSp modSp add del replId">
        <pc:chgData name="Hamila Naoufel" userId="S::naoufel.hamila@inetum.com::e965c851-6e2b-4d98-9bc8-c6a9879c5eb9" providerId="AD" clId="Web-{A04C8C0C-AFF3-8024-33F4-367C079B0408}" dt="2022-02-11T14:51:54.352" v="1258"/>
        <pc:sldMkLst>
          <pc:docMk/>
          <pc:sldMk cId="760854367" sldId="346"/>
        </pc:sldMkLst>
        <pc:spChg chg="add del mod">
          <ac:chgData name="Hamila Naoufel" userId="S::naoufel.hamila@inetum.com::e965c851-6e2b-4d98-9bc8-c6a9879c5eb9" providerId="AD" clId="Web-{A04C8C0C-AFF3-8024-33F4-367C079B0408}" dt="2022-02-11T13:06:20.443" v="812"/>
          <ac:spMkLst>
            <pc:docMk/>
            <pc:sldMk cId="760854367" sldId="346"/>
            <ac:spMk id="2" creationId="{BAE21546-C9B8-4547-8F0B-1281DC53C026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6:30.177" v="816"/>
          <ac:spMkLst>
            <pc:docMk/>
            <pc:sldMk cId="760854367" sldId="346"/>
            <ac:spMk id="19" creationId="{B2E69C04-FAD3-4F21-9EFC-ACDB085E103A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6:28.583" v="815"/>
          <ac:spMkLst>
            <pc:docMk/>
            <pc:sldMk cId="760854367" sldId="346"/>
            <ac:spMk id="20" creationId="{39C810BE-2A5D-42B6-BCD2-7EE2DB96642E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6:53.240" v="826"/>
          <ac:spMkLst>
            <pc:docMk/>
            <pc:sldMk cId="760854367" sldId="346"/>
            <ac:spMk id="21" creationId="{7767D840-B244-4CF2-8598-739D92F1D0CA}"/>
          </ac:spMkLst>
        </pc:spChg>
        <pc:spChg chg="del mod topLvl">
          <ac:chgData name="Hamila Naoufel" userId="S::naoufel.hamila@inetum.com::e965c851-6e2b-4d98-9bc8-c6a9879c5eb9" providerId="AD" clId="Web-{A04C8C0C-AFF3-8024-33F4-367C079B0408}" dt="2022-02-11T13:06:52.412" v="825"/>
          <ac:spMkLst>
            <pc:docMk/>
            <pc:sldMk cId="760854367" sldId="346"/>
            <ac:spMk id="22" creationId="{7CF1060D-5648-4E6B-82DF-8F21A4D0A545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8:15.429" v="849"/>
          <ac:spMkLst>
            <pc:docMk/>
            <pc:sldMk cId="760854367" sldId="346"/>
            <ac:spMk id="25" creationId="{E3D6519B-0C42-4D5D-B3E3-31D59931DC27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8:13.929" v="848"/>
          <ac:spMkLst>
            <pc:docMk/>
            <pc:sldMk cId="760854367" sldId="346"/>
            <ac:spMk id="26" creationId="{2968595A-AA05-42B5-93CE-85B6BAE8CC86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8:18.164" v="851"/>
          <ac:spMkLst>
            <pc:docMk/>
            <pc:sldMk cId="760854367" sldId="346"/>
            <ac:spMk id="29" creationId="{D0D88B9B-6158-4AF3-BD19-1528379552E4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8:17.070" v="850"/>
          <ac:spMkLst>
            <pc:docMk/>
            <pc:sldMk cId="760854367" sldId="346"/>
            <ac:spMk id="30" creationId="{C297723C-8C58-4F09-BFD5-BCD8AA8AB5A4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6:42.990" v="821"/>
          <ac:spMkLst>
            <pc:docMk/>
            <pc:sldMk cId="760854367" sldId="346"/>
            <ac:spMk id="33" creationId="{E83BF131-3F27-4D8B-8B7E-42B83B93E27A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6:41.615" v="820"/>
          <ac:spMkLst>
            <pc:docMk/>
            <pc:sldMk cId="760854367" sldId="346"/>
            <ac:spMk id="34" creationId="{C5107B77-47F2-419F-B654-99F552B3FA56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6:38.740" v="818"/>
          <ac:spMkLst>
            <pc:docMk/>
            <pc:sldMk cId="760854367" sldId="346"/>
            <ac:spMk id="41" creationId="{313B0DCA-D4F2-44B1-BA45-35183B7C362A}"/>
          </ac:spMkLst>
        </pc:spChg>
        <pc:spChg chg="del topLvl">
          <ac:chgData name="Hamila Naoufel" userId="S::naoufel.hamila@inetum.com::e965c851-6e2b-4d98-9bc8-c6a9879c5eb9" providerId="AD" clId="Web-{A04C8C0C-AFF3-8024-33F4-367C079B0408}" dt="2022-02-11T13:06:33.193" v="817"/>
          <ac:spMkLst>
            <pc:docMk/>
            <pc:sldMk cId="760854367" sldId="346"/>
            <ac:spMk id="42" creationId="{1973E38F-4B79-41AA-8E86-079BAE593E56}"/>
          </ac:spMkLst>
        </pc:spChg>
        <pc:grpChg chg="del">
          <ac:chgData name="Hamila Naoufel" userId="S::naoufel.hamila@inetum.com::e965c851-6e2b-4d98-9bc8-c6a9879c5eb9" providerId="AD" clId="Web-{A04C8C0C-AFF3-8024-33F4-367C079B0408}" dt="2022-02-11T13:07:28.632" v="834"/>
          <ac:grpSpMkLst>
            <pc:docMk/>
            <pc:sldMk cId="760854367" sldId="346"/>
            <ac:grpSpMk id="5" creationId="{43943AC2-90FB-4642-B493-9D347B66D564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6:33.193" v="817"/>
          <ac:grpSpMkLst>
            <pc:docMk/>
            <pc:sldMk cId="760854367" sldId="346"/>
            <ac:grpSpMk id="6" creationId="{C27DCC3B-FA89-4851-BADB-A0CDFDD286AC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7:33.647" v="837"/>
          <ac:grpSpMkLst>
            <pc:docMk/>
            <pc:sldMk cId="760854367" sldId="346"/>
            <ac:grpSpMk id="7" creationId="{651F6643-F562-4A55-9443-2D449B5D23EA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8:19.367" v="852"/>
          <ac:grpSpMkLst>
            <pc:docMk/>
            <pc:sldMk cId="760854367" sldId="346"/>
            <ac:grpSpMk id="8" creationId="{35C57907-1B43-44F9-B932-C0F800A5A276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6:49.756" v="823"/>
          <ac:grpSpMkLst>
            <pc:docMk/>
            <pc:sldMk cId="760854367" sldId="346"/>
            <ac:grpSpMk id="9" creationId="{7C4452D9-2BE9-4B72-ACFF-4BC6C2B7C4DC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6:41.615" v="820"/>
          <ac:grpSpMkLst>
            <pc:docMk/>
            <pc:sldMk cId="760854367" sldId="346"/>
            <ac:grpSpMk id="10" creationId="{E7C72D44-1EA2-4F5B-B568-1E7B5866BD52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7:31.616" v="836"/>
          <ac:grpSpMkLst>
            <pc:docMk/>
            <pc:sldMk cId="760854367" sldId="346"/>
            <ac:grpSpMk id="11" creationId="{1DE4CADD-EC70-4D30-AF39-243BC491C1CE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8:17.070" v="850"/>
          <ac:grpSpMkLst>
            <pc:docMk/>
            <pc:sldMk cId="760854367" sldId="346"/>
            <ac:grpSpMk id="13" creationId="{A116FF3D-8DA6-4154-8B3C-68047FF089F9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7:30.507" v="835"/>
          <ac:grpSpMkLst>
            <pc:docMk/>
            <pc:sldMk cId="760854367" sldId="346"/>
            <ac:grpSpMk id="14" creationId="{7B82E2F4-6B28-4A39-9DC9-48539DC091D1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8:13.929" v="848"/>
          <ac:grpSpMkLst>
            <pc:docMk/>
            <pc:sldMk cId="760854367" sldId="346"/>
            <ac:grpSpMk id="15" creationId="{8F874E62-8A1B-4DEF-9988-CFE9E0DF214D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6:39.849" v="819"/>
          <ac:grpSpMkLst>
            <pc:docMk/>
            <pc:sldMk cId="760854367" sldId="346"/>
            <ac:grpSpMk id="16" creationId="{A28DF82D-D5B8-48D5-80A7-34BCD68CB22A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6:52.412" v="825"/>
          <ac:grpSpMkLst>
            <pc:docMk/>
            <pc:sldMk cId="760854367" sldId="346"/>
            <ac:grpSpMk id="17" creationId="{5B27015D-47C8-421C-8BD8-E37230B7E34C}"/>
          </ac:grpSpMkLst>
        </pc:grpChg>
        <pc:grpChg chg="del">
          <ac:chgData name="Hamila Naoufel" userId="S::naoufel.hamila@inetum.com::e965c851-6e2b-4d98-9bc8-c6a9879c5eb9" providerId="AD" clId="Web-{A04C8C0C-AFF3-8024-33F4-367C079B0408}" dt="2022-02-11T13:06:28.583" v="815"/>
          <ac:grpSpMkLst>
            <pc:docMk/>
            <pc:sldMk cId="760854367" sldId="346"/>
            <ac:grpSpMk id="18" creationId="{C6C1B400-4696-4181-89A2-9A49DA9E8F21}"/>
          </ac:grpSpMkLst>
        </pc:grpChg>
        <pc:picChg chg="add del mod">
          <ac:chgData name="Hamila Naoufel" userId="S::naoufel.hamila@inetum.com::e965c851-6e2b-4d98-9bc8-c6a9879c5eb9" providerId="AD" clId="Web-{A04C8C0C-AFF3-8024-33F4-367C079B0408}" dt="2022-02-11T13:58:44.562" v="893"/>
          <ac:picMkLst>
            <pc:docMk/>
            <pc:sldMk cId="760854367" sldId="346"/>
            <ac:picMk id="2" creationId="{7BD6F0AF-1DC4-49B6-BCAB-F121AA2CC330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4:43:36.617" v="1084"/>
          <ac:picMkLst>
            <pc:docMk/>
            <pc:sldMk cId="760854367" sldId="346"/>
            <ac:picMk id="3" creationId="{AF6E4391-8969-4E37-B3B5-8949B898DA83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4:43:36.617" v="1079"/>
          <ac:picMkLst>
            <pc:docMk/>
            <pc:sldMk cId="760854367" sldId="346"/>
            <ac:picMk id="5" creationId="{37903036-DCC2-4138-A1C4-1B446B48D5CF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4:44:14.728" v="1099"/>
          <ac:picMkLst>
            <pc:docMk/>
            <pc:sldMk cId="760854367" sldId="346"/>
            <ac:picMk id="47" creationId="{EE84AC7F-1DDC-41B8-AEEA-868B7A2D882C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4:43:36.617" v="1083"/>
          <ac:picMkLst>
            <pc:docMk/>
            <pc:sldMk cId="760854367" sldId="346"/>
            <ac:picMk id="49" creationId="{A65BD04D-B353-44B4-9928-E534C1620F6F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4:43:36.617" v="1082"/>
          <ac:picMkLst>
            <pc:docMk/>
            <pc:sldMk cId="760854367" sldId="346"/>
            <ac:picMk id="51" creationId="{20D3B44A-93B5-43D4-ACCA-0F909F5BA283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4:44:14.728" v="1098"/>
          <ac:picMkLst>
            <pc:docMk/>
            <pc:sldMk cId="760854367" sldId="346"/>
            <ac:picMk id="53" creationId="{7EF72A3E-380A-4148-8551-998F7C3C2F41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4:43:36.617" v="1081"/>
          <ac:picMkLst>
            <pc:docMk/>
            <pc:sldMk cId="760854367" sldId="346"/>
            <ac:picMk id="55" creationId="{4B844422-5103-49FB-8277-6250351B09B3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4:43:36.617" v="1080"/>
          <ac:picMkLst>
            <pc:docMk/>
            <pc:sldMk cId="760854367" sldId="346"/>
            <ac:picMk id="57" creationId="{BD23A205-78E0-4223-B779-320F7A78A1CA}"/>
          </ac:picMkLst>
        </pc:picChg>
      </pc:sldChg>
      <pc:sldChg chg="addSp delSp modSp add">
        <pc:chgData name="Hamila Naoufel" userId="S::naoufel.hamila@inetum.com::e965c851-6e2b-4d98-9bc8-c6a9879c5eb9" providerId="AD" clId="Web-{A04C8C0C-AFF3-8024-33F4-367C079B0408}" dt="2022-02-11T14:55:51.425" v="1341" actId="20577"/>
        <pc:sldMkLst>
          <pc:docMk/>
          <pc:sldMk cId="2119362846" sldId="347"/>
        </pc:sldMkLst>
        <pc:spChg chg="add mod">
          <ac:chgData name="Hamila Naoufel" userId="S::naoufel.hamila@inetum.com::e965c851-6e2b-4d98-9bc8-c6a9879c5eb9" providerId="AD" clId="Web-{A04C8C0C-AFF3-8024-33F4-367C079B0408}" dt="2022-02-11T14:49:08.824" v="1203" actId="20577"/>
          <ac:spMkLst>
            <pc:docMk/>
            <pc:sldMk cId="2119362846" sldId="347"/>
            <ac:spMk id="10" creationId="{3C737F46-D99B-495A-B610-D8B88375FA51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2:11.522" v="1260" actId="20577"/>
          <ac:spMkLst>
            <pc:docMk/>
            <pc:sldMk cId="2119362846" sldId="347"/>
            <ac:spMk id="11" creationId="{2135D48E-1404-4AEA-B774-229774BF101D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49:34.138" v="1220" actId="20577"/>
          <ac:spMkLst>
            <pc:docMk/>
            <pc:sldMk cId="2119362846" sldId="347"/>
            <ac:spMk id="12" creationId="{41B9E25A-90A1-421A-8F7B-3C30FACC9D5B}"/>
          </ac:spMkLst>
        </pc:spChg>
        <pc:spChg chg="add del">
          <ac:chgData name="Hamila Naoufel" userId="S::naoufel.hamila@inetum.com::e965c851-6e2b-4d98-9bc8-c6a9879c5eb9" providerId="AD" clId="Web-{A04C8C0C-AFF3-8024-33F4-367C079B0408}" dt="2022-02-11T14:55:24.205" v="1336"/>
          <ac:spMkLst>
            <pc:docMk/>
            <pc:sldMk cId="2119362846" sldId="347"/>
            <ac:spMk id="13" creationId="{19A5C02D-B643-4F2D-BE29-B3AADB32A446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5:51.425" v="1341" actId="20577"/>
          <ac:spMkLst>
            <pc:docMk/>
            <pc:sldMk cId="2119362846" sldId="347"/>
            <ac:spMk id="14" creationId="{6CD42B82-12F8-4411-B53B-309397D26406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4:01.966" v="1318" actId="20577"/>
          <ac:spMkLst>
            <pc:docMk/>
            <pc:sldMk cId="2119362846" sldId="347"/>
            <ac:spMk id="15" creationId="{7ED0EA54-5A28-4D1A-8BE4-902B15DC13C8}"/>
          </ac:spMkLst>
        </pc:spChg>
        <pc:spChg chg="add del">
          <ac:chgData name="Hamila Naoufel" userId="S::naoufel.hamila@inetum.com::e965c851-6e2b-4d98-9bc8-c6a9879c5eb9" providerId="AD" clId="Web-{A04C8C0C-AFF3-8024-33F4-367C079B0408}" dt="2022-02-11T14:55:22.596" v="1335"/>
          <ac:spMkLst>
            <pc:docMk/>
            <pc:sldMk cId="2119362846" sldId="347"/>
            <ac:spMk id="16" creationId="{27D590B6-82D2-4289-919F-C0FB27105801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5:09.892" v="1333" actId="20577"/>
          <ac:spMkLst>
            <pc:docMk/>
            <pc:sldMk cId="2119362846" sldId="347"/>
            <ac:spMk id="17" creationId="{3E6CCAE8-7618-43AD-9807-300B07A64376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4:36.905" v="1326" actId="20577"/>
          <ac:spMkLst>
            <pc:docMk/>
            <pc:sldMk cId="2119362846" sldId="347"/>
            <ac:spMk id="18" creationId="{7AD67278-8626-4F4E-99FF-D037C29DDFA4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3:18.807" v="1313" actId="20577"/>
          <ac:spMkLst>
            <pc:docMk/>
            <pc:sldMk cId="2119362846" sldId="347"/>
            <ac:spMk id="19" creationId="{18C3B4C5-E73C-443D-B4C4-18CCBE3334A6}"/>
          </ac:spMkLst>
        </pc:spChg>
        <pc:spChg chg="add del">
          <ac:chgData name="Hamila Naoufel" userId="S::naoufel.hamila@inetum.com::e965c851-6e2b-4d98-9bc8-c6a9879c5eb9" providerId="AD" clId="Web-{A04C8C0C-AFF3-8024-33F4-367C079B0408}" dt="2022-02-11T14:51:26.925" v="1240"/>
          <ac:spMkLst>
            <pc:docMk/>
            <pc:sldMk cId="2119362846" sldId="347"/>
            <ac:spMk id="20" creationId="{AE356236-7E42-4BE0-A8AD-6EC81A390325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0:08.374" v="1229" actId="20577"/>
          <ac:spMkLst>
            <pc:docMk/>
            <pc:sldMk cId="2119362846" sldId="347"/>
            <ac:spMk id="21" creationId="{91280E38-809F-475B-B942-184467B00A7A}"/>
          </ac:spMkLst>
        </pc:spChg>
        <pc:spChg chg="add del">
          <ac:chgData name="Hamila Naoufel" userId="S::naoufel.hamila@inetum.com::e965c851-6e2b-4d98-9bc8-c6a9879c5eb9" providerId="AD" clId="Web-{A04C8C0C-AFF3-8024-33F4-367C079B0408}" dt="2022-02-11T14:52:13.944" v="1261"/>
          <ac:spMkLst>
            <pc:docMk/>
            <pc:sldMk cId="2119362846" sldId="347"/>
            <ac:spMk id="22" creationId="{5A27CA23-25AD-4561-84E3-920DB1F00039}"/>
          </ac:spMkLst>
        </pc:spChg>
        <pc:spChg chg="add del">
          <ac:chgData name="Hamila Naoufel" userId="S::naoufel.hamila@inetum.com::e965c851-6e2b-4d98-9bc8-c6a9879c5eb9" providerId="AD" clId="Web-{A04C8C0C-AFF3-8024-33F4-367C079B0408}" dt="2022-02-11T14:54:40.109" v="1327"/>
          <ac:spMkLst>
            <pc:docMk/>
            <pc:sldMk cId="2119362846" sldId="347"/>
            <ac:spMk id="23" creationId="{D56D469C-EEBD-4786-B326-63C1BC2CD8BD}"/>
          </ac:spMkLst>
        </pc:spChg>
        <pc:spChg chg="del mod">
          <ac:chgData name="Hamila Naoufel" userId="S::naoufel.hamila@inetum.com::e965c851-6e2b-4d98-9bc8-c6a9879c5eb9" providerId="AD" clId="Web-{A04C8C0C-AFF3-8024-33F4-367C079B0408}" dt="2022-02-11T14:47:25.505" v="1173"/>
          <ac:spMkLst>
            <pc:docMk/>
            <pc:sldMk cId="2119362846" sldId="347"/>
            <ac:spMk id="43" creationId="{922DEBF3-3E67-4EF6-B9C4-60CE3B4DDE1C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47:40.443" v="1177" actId="1076"/>
          <ac:spMkLst>
            <pc:docMk/>
            <pc:sldMk cId="2119362846" sldId="347"/>
            <ac:spMk id="45" creationId="{31480D8B-15F3-4AF4-80F9-E104766BFB89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45:44.062" v="1119" actId="20577"/>
          <ac:spMkLst>
            <pc:docMk/>
            <pc:sldMk cId="2119362846" sldId="347"/>
            <ac:spMk id="46" creationId="{15A15CBF-24BE-4505-8F37-932F25BB4CCA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48:43.338" v="1199" actId="1076"/>
          <ac:spMkLst>
            <pc:docMk/>
            <pc:sldMk cId="2119362846" sldId="347"/>
            <ac:spMk id="47" creationId="{A829C613-987D-4914-B89B-AE116864C478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5:33.936" v="1116"/>
          <ac:spMkLst>
            <pc:docMk/>
            <pc:sldMk cId="2119362846" sldId="347"/>
            <ac:spMk id="48" creationId="{02F1B33C-D374-4715-8430-5AFB092AFA7D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5:36.686" v="1117"/>
          <ac:spMkLst>
            <pc:docMk/>
            <pc:sldMk cId="2119362846" sldId="347"/>
            <ac:spMk id="49" creationId="{D2DDBDD8-F3F7-4398-A0E0-9DC20CF3B814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5:53.687" v="1123"/>
          <ac:spMkLst>
            <pc:docMk/>
            <pc:sldMk cId="2119362846" sldId="347"/>
            <ac:spMk id="50" creationId="{9071F9E9-0E74-4CE9-8573-144CDE9ACE97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5:50.531" v="1122"/>
          <ac:spMkLst>
            <pc:docMk/>
            <pc:sldMk cId="2119362846" sldId="347"/>
            <ac:spMk id="51" creationId="{3BFF8524-14C2-4D2D-BC94-EEAFF147C225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5:50.531" v="1121"/>
          <ac:spMkLst>
            <pc:docMk/>
            <pc:sldMk cId="2119362846" sldId="347"/>
            <ac:spMk id="52" creationId="{278CE807-EF3B-46AA-A259-8B31E01C86F1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5:50.531" v="1120"/>
          <ac:spMkLst>
            <pc:docMk/>
            <pc:sldMk cId="2119362846" sldId="347"/>
            <ac:spMk id="53" creationId="{39930502-3DAA-4291-91DF-6DD5ADF3C139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5.641" v="1138"/>
          <ac:spMkLst>
            <pc:docMk/>
            <pc:sldMk cId="2119362846" sldId="347"/>
            <ac:spMk id="54" creationId="{140B26F9-569F-47AA-8A0D-43223C4913C1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0.485" v="1134"/>
          <ac:spMkLst>
            <pc:docMk/>
            <pc:sldMk cId="2119362846" sldId="347"/>
            <ac:spMk id="55" creationId="{F81856A2-4D16-4BD9-A292-BAE0846DC0CB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0.485" v="1133"/>
          <ac:spMkLst>
            <pc:docMk/>
            <pc:sldMk cId="2119362846" sldId="347"/>
            <ac:spMk id="56" creationId="{6EFF3769-4473-4122-B291-953ACE3245CF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0.485" v="1132"/>
          <ac:spMkLst>
            <pc:docMk/>
            <pc:sldMk cId="2119362846" sldId="347"/>
            <ac:spMk id="57" creationId="{7E5EDEAE-0AC6-4254-B178-B127B7567347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5.641" v="1137"/>
          <ac:spMkLst>
            <pc:docMk/>
            <pc:sldMk cId="2119362846" sldId="347"/>
            <ac:spMk id="58" creationId="{E7E5A8AB-C196-455D-B20C-5493F53D64CD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0.485" v="1131"/>
          <ac:spMkLst>
            <pc:docMk/>
            <pc:sldMk cId="2119362846" sldId="347"/>
            <ac:spMk id="59" creationId="{431C880A-3469-4C9F-A163-32FAA31B6CB2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0.485" v="1130"/>
          <ac:spMkLst>
            <pc:docMk/>
            <pc:sldMk cId="2119362846" sldId="347"/>
            <ac:spMk id="60" creationId="{5335192A-F0E0-4C5D-9DE3-2858F83866DA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0.485" v="1129"/>
          <ac:spMkLst>
            <pc:docMk/>
            <pc:sldMk cId="2119362846" sldId="347"/>
            <ac:spMk id="61" creationId="{F60D9780-B990-41A5-A1C5-5D32F40A0608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46.412" v="1182"/>
          <ac:spMkLst>
            <pc:docMk/>
            <pc:sldMk cId="2119362846" sldId="347"/>
            <ac:spMk id="62" creationId="{33459A80-B224-4199-AD36-A06138266F06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114" v="1170"/>
          <ac:spMkLst>
            <pc:docMk/>
            <pc:sldMk cId="2119362846" sldId="347"/>
            <ac:spMk id="63" creationId="{53652492-B74F-44CC-98F7-33D7D246A0F9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114" v="1169"/>
          <ac:spMkLst>
            <pc:docMk/>
            <pc:sldMk cId="2119362846" sldId="347"/>
            <ac:spMk id="64" creationId="{560DC3C2-B69F-4C9A-BFEB-2D10913FE5F7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114" v="1168"/>
          <ac:spMkLst>
            <pc:docMk/>
            <pc:sldMk cId="2119362846" sldId="347"/>
            <ac:spMk id="65" creationId="{32E94349-39E6-4570-94BB-A8D0FEEE4DFA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114" v="1167"/>
          <ac:spMkLst>
            <pc:docMk/>
            <pc:sldMk cId="2119362846" sldId="347"/>
            <ac:spMk id="66" creationId="{73056788-1D2F-42F0-AC72-F86A71D35A09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46.412" v="1181"/>
          <ac:spMkLst>
            <pc:docMk/>
            <pc:sldMk cId="2119362846" sldId="347"/>
            <ac:spMk id="67" creationId="{4EBBCD50-A8A2-4B4B-A545-8F5CA3AAB703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114" v="1166"/>
          <ac:spMkLst>
            <pc:docMk/>
            <pc:sldMk cId="2119362846" sldId="347"/>
            <ac:spMk id="68" creationId="{FEAF87D7-0543-4B82-A4F6-A95915D53054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114" v="1165"/>
          <ac:spMkLst>
            <pc:docMk/>
            <pc:sldMk cId="2119362846" sldId="347"/>
            <ac:spMk id="69" creationId="{1B6CD8A7-7817-49EF-BAAA-1E6D58D60F99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114" v="1164"/>
          <ac:spMkLst>
            <pc:docMk/>
            <pc:sldMk cId="2119362846" sldId="347"/>
            <ac:spMk id="70" creationId="{099A08E6-D622-48CE-B20B-EA9B8117DDEC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46.412" v="1180"/>
          <ac:spMkLst>
            <pc:docMk/>
            <pc:sldMk cId="2119362846" sldId="347"/>
            <ac:spMk id="71" creationId="{D972BDAC-21C0-41F2-BC8F-D83E29CF1E46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114" v="1163"/>
          <ac:spMkLst>
            <pc:docMk/>
            <pc:sldMk cId="2119362846" sldId="347"/>
            <ac:spMk id="72" creationId="{F1329D33-87B6-4837-98ED-763A49E11281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098" v="1162"/>
          <ac:spMkLst>
            <pc:docMk/>
            <pc:sldMk cId="2119362846" sldId="347"/>
            <ac:spMk id="73" creationId="{DDCB5504-AB3B-4B7D-8290-F30B060A0BB9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098" v="1161"/>
          <ac:spMkLst>
            <pc:docMk/>
            <pc:sldMk cId="2119362846" sldId="347"/>
            <ac:spMk id="74" creationId="{E0451C25-6087-4EFE-A745-FDFF367660A3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46.412" v="1179"/>
          <ac:spMkLst>
            <pc:docMk/>
            <pc:sldMk cId="2119362846" sldId="347"/>
            <ac:spMk id="75" creationId="{FACF3EAA-4C30-48A0-8F78-847F511C7635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098" v="1160"/>
          <ac:spMkLst>
            <pc:docMk/>
            <pc:sldMk cId="2119362846" sldId="347"/>
            <ac:spMk id="76" creationId="{AD69822B-EDF9-4E50-9F67-1F1F8F0FE8AD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098" v="1159"/>
          <ac:spMkLst>
            <pc:docMk/>
            <pc:sldMk cId="2119362846" sldId="347"/>
            <ac:spMk id="77" creationId="{F576F556-4C03-4225-8F04-C95630C79E6C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098" v="1158"/>
          <ac:spMkLst>
            <pc:docMk/>
            <pc:sldMk cId="2119362846" sldId="347"/>
            <ac:spMk id="78" creationId="{6D330125-F9DC-459C-A4EB-92BFBEA024A3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5.626" v="1136"/>
          <ac:spMkLst>
            <pc:docMk/>
            <pc:sldMk cId="2119362846" sldId="347"/>
            <ac:spMk id="79" creationId="{B5D4433C-ABA9-46A1-9BD1-C9FC03E1FADA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0.485" v="1128"/>
          <ac:spMkLst>
            <pc:docMk/>
            <pc:sldMk cId="2119362846" sldId="347"/>
            <ac:spMk id="80" creationId="{9173719A-056C-4CA5-897E-4D5DF75AEC2F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0.485" v="1127"/>
          <ac:spMkLst>
            <pc:docMk/>
            <pc:sldMk cId="2119362846" sldId="347"/>
            <ac:spMk id="81" creationId="{02C8D804-B5C9-4FA6-A427-A249D2910CC8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6:10.485" v="1126"/>
          <ac:spMkLst>
            <pc:docMk/>
            <pc:sldMk cId="2119362846" sldId="347"/>
            <ac:spMk id="82" creationId="{C82E7987-9911-4DE3-8023-3D0BAAAAA6BE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46.412" v="1178"/>
          <ac:spMkLst>
            <pc:docMk/>
            <pc:sldMk cId="2119362846" sldId="347"/>
            <ac:spMk id="83" creationId="{6F0E35B6-A6B4-4EA8-A0C9-295EE271D10E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098" v="1157"/>
          <ac:spMkLst>
            <pc:docMk/>
            <pc:sldMk cId="2119362846" sldId="347"/>
            <ac:spMk id="84" creationId="{849BCFE8-88E7-416C-870F-B528CAAA8F46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098" v="1156"/>
          <ac:spMkLst>
            <pc:docMk/>
            <pc:sldMk cId="2119362846" sldId="347"/>
            <ac:spMk id="85" creationId="{E041C657-F4EC-43DB-9A10-0606153A6130}"/>
          </ac:spMkLst>
        </pc:spChg>
        <pc:spChg chg="del">
          <ac:chgData name="Hamila Naoufel" userId="S::naoufel.hamila@inetum.com::e965c851-6e2b-4d98-9bc8-c6a9879c5eb9" providerId="AD" clId="Web-{A04C8C0C-AFF3-8024-33F4-367C079B0408}" dt="2022-02-11T14:47:22.098" v="1155"/>
          <ac:spMkLst>
            <pc:docMk/>
            <pc:sldMk cId="2119362846" sldId="347"/>
            <ac:spMk id="86" creationId="{098D03E8-B05F-4B3F-B3C7-D2F0FB9EC867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0:18.875" v="1231" actId="1076"/>
          <ac:spMkLst>
            <pc:docMk/>
            <pc:sldMk cId="2119362846" sldId="347"/>
            <ac:spMk id="98" creationId="{8858394A-F7B9-429C-9BC3-F98758914742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0:25.750" v="1233" actId="1076"/>
          <ac:spMkLst>
            <pc:docMk/>
            <pc:sldMk cId="2119362846" sldId="347"/>
            <ac:spMk id="99" creationId="{2E9F02C1-4ADA-4B20-9994-7F3B819AD4FC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0:42.878" v="1235" actId="1076"/>
          <ac:spMkLst>
            <pc:docMk/>
            <pc:sldMk cId="2119362846" sldId="347"/>
            <ac:spMk id="100" creationId="{5F2978CB-B9A2-43FE-A602-5A0DE5793EBB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0:54.189" v="1237" actId="1076"/>
          <ac:spMkLst>
            <pc:docMk/>
            <pc:sldMk cId="2119362846" sldId="347"/>
            <ac:spMk id="101" creationId="{11147CF7-0731-481D-A282-7109148B9678}"/>
          </ac:spMkLst>
        </pc:spChg>
        <pc:spChg chg="add mod">
          <ac:chgData name="Hamila Naoufel" userId="S::naoufel.hamila@inetum.com::e965c851-6e2b-4d98-9bc8-c6a9879c5eb9" providerId="AD" clId="Web-{A04C8C0C-AFF3-8024-33F4-367C079B0408}" dt="2022-02-11T14:51:13.393" v="1239" actId="1076"/>
          <ac:spMkLst>
            <pc:docMk/>
            <pc:sldMk cId="2119362846" sldId="347"/>
            <ac:spMk id="102" creationId="{7E920D04-024E-4330-8C43-D2970DDDC71C}"/>
          </ac:spMkLst>
        </pc:spChg>
        <pc:picChg chg="add mod">
          <ac:chgData name="Hamila Naoufel" userId="S::naoufel.hamila@inetum.com::e965c851-6e2b-4d98-9bc8-c6a9879c5eb9" providerId="AD" clId="Web-{A04C8C0C-AFF3-8024-33F4-367C079B0408}" dt="2022-02-11T14:46:58.378" v="1150" actId="14100"/>
          <ac:picMkLst>
            <pc:docMk/>
            <pc:sldMk cId="2119362846" sldId="347"/>
            <ac:picMk id="2" creationId="{6113239F-6A1E-4B11-87EE-4696E8691730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46:53.925" v="1148" actId="1076"/>
          <ac:picMkLst>
            <pc:docMk/>
            <pc:sldMk cId="2119362846" sldId="347"/>
            <ac:picMk id="3" creationId="{E56E13AD-9F73-40ED-A18D-16FC5A794D06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48:07.242" v="1186" actId="1076"/>
          <ac:picMkLst>
            <pc:docMk/>
            <pc:sldMk cId="2119362846" sldId="347"/>
            <ac:picMk id="4" creationId="{F636AD4B-2F7E-4A52-938C-6C40B1E54722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48:01.570" v="1185" actId="1076"/>
          <ac:picMkLst>
            <pc:docMk/>
            <pc:sldMk cId="2119362846" sldId="347"/>
            <ac:picMk id="5" creationId="{06AC44FF-6266-46BE-86E8-1CABBB72B5F8}"/>
          </ac:picMkLst>
        </pc:picChg>
        <pc:picChg chg="add del mod">
          <ac:chgData name="Hamila Naoufel" userId="S::naoufel.hamila@inetum.com::e965c851-6e2b-4d98-9bc8-c6a9879c5eb9" providerId="AD" clId="Web-{A04C8C0C-AFF3-8024-33F4-367C079B0408}" dt="2022-02-11T14:55:01.126" v="1329"/>
          <ac:picMkLst>
            <pc:docMk/>
            <pc:sldMk cId="2119362846" sldId="347"/>
            <ac:picMk id="6" creationId="{898359F6-2038-4CD4-8A21-56AC693A9074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46:52.034" v="1147" actId="14100"/>
          <ac:picMkLst>
            <pc:docMk/>
            <pc:sldMk cId="2119362846" sldId="347"/>
            <ac:picMk id="7" creationId="{1EFD2FD6-F866-4397-B6CF-3D6958823DBE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48:17.227" v="1190" actId="1076"/>
          <ac:picMkLst>
            <pc:docMk/>
            <pc:sldMk cId="2119362846" sldId="347"/>
            <ac:picMk id="8" creationId="{E52F4454-CE4D-4CB0-BC63-DD128A5041C0}"/>
          </ac:picMkLst>
        </pc:picChg>
        <pc:picChg chg="add mod">
          <ac:chgData name="Hamila Naoufel" userId="S::naoufel.hamila@inetum.com::e965c851-6e2b-4d98-9bc8-c6a9879c5eb9" providerId="AD" clId="Web-{A04C8C0C-AFF3-8024-33F4-367C079B0408}" dt="2022-02-11T14:47:05.910" v="1152" actId="14100"/>
          <ac:picMkLst>
            <pc:docMk/>
            <pc:sldMk cId="2119362846" sldId="347"/>
            <ac:picMk id="9" creationId="{0BD341FA-BE71-4011-B5B8-1A95F947E9DA}"/>
          </ac:picMkLst>
        </pc:picChg>
      </pc:sldChg>
      <pc:sldChg chg="add del">
        <pc:chgData name="Hamila Naoufel" userId="S::naoufel.hamila@inetum.com::e965c851-6e2b-4d98-9bc8-c6a9879c5eb9" providerId="AD" clId="Web-{A04C8C0C-AFF3-8024-33F4-367C079B0408}" dt="2022-02-11T14:43:20.428" v="1078"/>
        <pc:sldMkLst>
          <pc:docMk/>
          <pc:sldMk cId="586743962" sldId="348"/>
        </pc:sldMkLst>
      </pc:sldChg>
      <pc:sldChg chg="add">
        <pc:chgData name="Hamila Naoufel" userId="S::naoufel.hamila@inetum.com::e965c851-6e2b-4d98-9bc8-c6a9879c5eb9" providerId="AD" clId="Web-{A04C8C0C-AFF3-8024-33F4-367C079B0408}" dt="2022-02-11T14:22:08.681" v="929"/>
        <pc:sldMkLst>
          <pc:docMk/>
          <pc:sldMk cId="312321069" sldId="349"/>
        </pc:sldMkLst>
      </pc:sldChg>
      <pc:sldChg chg="add">
        <pc:chgData name="Hamila Naoufel" userId="S::naoufel.hamila@inetum.com::e965c851-6e2b-4d98-9bc8-c6a9879c5eb9" providerId="AD" clId="Web-{A04C8C0C-AFF3-8024-33F4-367C079B0408}" dt="2022-02-11T14:22:08.806" v="930"/>
        <pc:sldMkLst>
          <pc:docMk/>
          <pc:sldMk cId="1790029237" sldId="350"/>
        </pc:sldMkLst>
      </pc:sldChg>
      <pc:sldChg chg="addSp delSp modSp add">
        <pc:chgData name="Hamila Naoufel" userId="S::naoufel.hamila@inetum.com::e965c851-6e2b-4d98-9bc8-c6a9879c5eb9" providerId="AD" clId="Web-{A04C8C0C-AFF3-8024-33F4-367C079B0408}" dt="2022-02-11T14:33:59.348" v="1049"/>
        <pc:sldMkLst>
          <pc:docMk/>
          <pc:sldMk cId="3635896922" sldId="351"/>
        </pc:sldMkLst>
        <pc:spChg chg="mod">
          <ac:chgData name="Hamila Naoufel" userId="S::naoufel.hamila@inetum.com::e965c851-6e2b-4d98-9bc8-c6a9879c5eb9" providerId="AD" clId="Web-{A04C8C0C-AFF3-8024-33F4-367C079B0408}" dt="2022-02-11T14:27:48.420" v="955" actId="1076"/>
          <ac:spMkLst>
            <pc:docMk/>
            <pc:sldMk cId="3635896922" sldId="351"/>
            <ac:spMk id="6" creationId="{CDB4BD2D-7658-4C8A-8AA1-AE71C631E93E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28:32.547" v="961" actId="1076"/>
          <ac:spMkLst>
            <pc:docMk/>
            <pc:sldMk cId="3635896922" sldId="351"/>
            <ac:spMk id="16" creationId="{EF597FB5-643F-48C4-B512-8E8D66FBD695}"/>
          </ac:spMkLst>
        </pc:spChg>
        <pc:spChg chg="del mod">
          <ac:chgData name="Hamila Naoufel" userId="S::naoufel.hamila@inetum.com::e965c851-6e2b-4d98-9bc8-c6a9879c5eb9" providerId="AD" clId="Web-{A04C8C0C-AFF3-8024-33F4-367C079B0408}" dt="2022-02-11T14:33:13.064" v="1010"/>
          <ac:spMkLst>
            <pc:docMk/>
            <pc:sldMk cId="3635896922" sldId="351"/>
            <ac:spMk id="30" creationId="{8B947BF0-2E0E-43A1-A588-26B54A71C5E0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27:36.279" v="953" actId="14100"/>
          <ac:spMkLst>
            <pc:docMk/>
            <pc:sldMk cId="3635896922" sldId="351"/>
            <ac:spMk id="97" creationId="{2D85C153-7A05-4A82-93EF-D8D0A5A7A514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33:17.674" v="1011" actId="1076"/>
          <ac:spMkLst>
            <pc:docMk/>
            <pc:sldMk cId="3635896922" sldId="351"/>
            <ac:spMk id="98" creationId="{31A3F2B4-A9A8-4362-917F-7B548A4BEF6B}"/>
          </ac:spMkLst>
        </pc:spChg>
        <pc:spChg chg="add del mod">
          <ac:chgData name="Hamila Naoufel" userId="S::naoufel.hamila@inetum.com::e965c851-6e2b-4d98-9bc8-c6a9879c5eb9" providerId="AD" clId="Web-{A04C8C0C-AFF3-8024-33F4-367C079B0408}" dt="2022-02-11T14:30:03.537" v="974"/>
          <ac:spMkLst>
            <pc:docMk/>
            <pc:sldMk cId="3635896922" sldId="351"/>
            <ac:spMk id="115" creationId="{94A146CF-4BD1-419A-85A6-F7A0830B2D9A}"/>
          </ac:spMkLst>
        </pc:spChg>
        <pc:graphicFrameChg chg="mod modGraphic">
          <ac:chgData name="Hamila Naoufel" userId="S::naoufel.hamila@inetum.com::e965c851-6e2b-4d98-9bc8-c6a9879c5eb9" providerId="AD" clId="Web-{A04C8C0C-AFF3-8024-33F4-367C079B0408}" dt="2022-02-11T14:33:59.348" v="1049"/>
          <ac:graphicFrameMkLst>
            <pc:docMk/>
            <pc:sldMk cId="3635896922" sldId="351"/>
            <ac:graphicFrameMk id="106" creationId="{3C0DBD1E-6ACB-41B8-8DE6-C7DA94AF177B}"/>
          </ac:graphicFrameMkLst>
        </pc:graphicFrameChg>
      </pc:sldChg>
      <pc:sldChg chg="delSp modSp add">
        <pc:chgData name="Hamila Naoufel" userId="S::naoufel.hamila@inetum.com::e965c851-6e2b-4d98-9bc8-c6a9879c5eb9" providerId="AD" clId="Web-{A04C8C0C-AFF3-8024-33F4-367C079B0408}" dt="2022-02-11T14:41:44.219" v="1077" actId="14100"/>
        <pc:sldMkLst>
          <pc:docMk/>
          <pc:sldMk cId="1710181576" sldId="352"/>
        </pc:sldMkLst>
        <pc:spChg chg="del">
          <ac:chgData name="Hamila Naoufel" userId="S::naoufel.hamila@inetum.com::e965c851-6e2b-4d98-9bc8-c6a9879c5eb9" providerId="AD" clId="Web-{A04C8C0C-AFF3-8024-33F4-367C079B0408}" dt="2022-02-11T14:32:48.672" v="1006"/>
          <ac:spMkLst>
            <pc:docMk/>
            <pc:sldMk cId="1710181576" sldId="352"/>
            <ac:spMk id="6" creationId="{577CE043-6653-42B0-A6C8-8C12B4A6221B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32:23.436" v="1005" actId="20577"/>
          <ac:spMkLst>
            <pc:docMk/>
            <pc:sldMk cId="1710181576" sldId="352"/>
            <ac:spMk id="29" creationId="{1C7E1F56-4CD1-4674-98AE-43BFD578BBDF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41:37.297" v="1076" actId="14100"/>
          <ac:spMkLst>
            <pc:docMk/>
            <pc:sldMk cId="1710181576" sldId="352"/>
            <ac:spMk id="33" creationId="{A49CDC03-DCBE-4F83-A53E-B0F323BFFDE2}"/>
          </ac:spMkLst>
        </pc:spChg>
        <pc:spChg chg="mod">
          <ac:chgData name="Hamila Naoufel" userId="S::naoufel.hamila@inetum.com::e965c851-6e2b-4d98-9bc8-c6a9879c5eb9" providerId="AD" clId="Web-{A04C8C0C-AFF3-8024-33F4-367C079B0408}" dt="2022-02-11T14:41:44.219" v="1077" actId="14100"/>
          <ac:spMkLst>
            <pc:docMk/>
            <pc:sldMk cId="1710181576" sldId="352"/>
            <ac:spMk id="34" creationId="{051A2195-3EDD-4528-85EC-1803275A7E0C}"/>
          </ac:spMkLst>
        </pc:spChg>
      </pc:sldChg>
      <pc:sldMasterChg chg="add addSldLayout">
        <pc:chgData name="Hamila Naoufel" userId="S::naoufel.hamila@inetum.com::e965c851-6e2b-4d98-9bc8-c6a9879c5eb9" providerId="AD" clId="Web-{A04C8C0C-AFF3-8024-33F4-367C079B0408}" dt="2022-02-11T11:24:29.082" v="0"/>
        <pc:sldMasterMkLst>
          <pc:docMk/>
          <pc:sldMasterMk cId="1908565981" sldId="2147483660"/>
        </pc:sldMasterMkLst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686663265" sldId="2147483661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546103329" sldId="2147483662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1745323" sldId="2147483663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1688072518" sldId="214748366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203621117" sldId="214748366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4017696538" sldId="2147483666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2767930888" sldId="2147483667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3733311002" sldId="2147483668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3578163668" sldId="2147483669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27714845" sldId="2147483670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2702044543" sldId="2147483671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3490186503" sldId="2147483672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2650152034" sldId="2147483673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3612684204" sldId="214748367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2292354844" sldId="214748367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3022849343" sldId="2147483676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1526167220" sldId="2147483677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1423581883" sldId="2147483678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1757994995" sldId="2147483679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1310845244" sldId="2147483680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848355270" sldId="2147483681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1359864358" sldId="2147483682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3861541159" sldId="2147483683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1273187962" sldId="214748368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4255603966" sldId="214748368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756819192" sldId="2147483686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3673553833" sldId="2147483687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4236529180" sldId="2147483688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1908565981" sldId="2147483660"/>
            <pc:sldLayoutMk cId="2989501848" sldId="2147483689"/>
          </pc:sldLayoutMkLst>
        </pc:sldLayoutChg>
      </pc:sldMasterChg>
      <pc:sldMasterChg chg="add addSldLayout modSldLayout">
        <pc:chgData name="Hamila Naoufel" userId="S::naoufel.hamila@inetum.com::e965c851-6e2b-4d98-9bc8-c6a9879c5eb9" providerId="AD" clId="Web-{A04C8C0C-AFF3-8024-33F4-367C079B0408}" dt="2022-02-11T14:24:52.050" v="931"/>
        <pc:sldMasterMkLst>
          <pc:docMk/>
          <pc:sldMasterMk cId="1955524939" sldId="2147483693"/>
        </pc:sldMasterMkLst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911604358" sldId="214748369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4147801652" sldId="214748369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85913570" sldId="2147483696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2381962089" sldId="2147483697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3573036155" sldId="2147483698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3531882428" sldId="2147483699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2129845258" sldId="2147483700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3286398625" sldId="2147483701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2980599020" sldId="2147483702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236407480" sldId="2147483703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721381575" sldId="214748370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4002625172" sldId="214748370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3120759584" sldId="2147483706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1283881484" sldId="2147483707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151363971" sldId="2147483708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13129443" sldId="2147483709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4256241936" sldId="2147483710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1432970584" sldId="2147483711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3674525988" sldId="2147483712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1411583153" sldId="2147483713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4094695175" sldId="214748371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572006586" sldId="214748371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707040334" sldId="2147483717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2970511281" sldId="2147483719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3734880502" sldId="2147483720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1955524939" sldId="2147483693"/>
            <pc:sldLayoutMk cId="2055759638" sldId="2147483721"/>
          </pc:sldLayoutMkLst>
        </pc:sldLayoutChg>
        <pc:sldLayoutChg chg="add replI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693"/>
            <pc:sldLayoutMk cId="1717385752" sldId="2147483936"/>
          </pc:sldLayoutMkLst>
        </pc:sldLayoutChg>
        <pc:sldLayoutChg chg="add replI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693"/>
            <pc:sldLayoutMk cId="4193309005" sldId="2147483938"/>
          </pc:sldLayoutMkLst>
        </pc:sldLayoutChg>
      </pc:sldMasterChg>
      <pc:sldMasterChg chg="replId modSldLayout">
        <pc:chgData name="Hamila Naoufel" userId="S::naoufel.hamila@inetum.com::e965c851-6e2b-4d98-9bc8-c6a9879c5eb9" providerId="AD" clId="Web-{A04C8C0C-AFF3-8024-33F4-367C079B0408}" dt="2022-02-11T12:38:44.859" v="310"/>
        <pc:sldMasterMkLst>
          <pc:docMk/>
          <pc:sldMasterMk cId="587283740" sldId="2147483868"/>
        </pc:sldMasterMkLst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3008593613" sldId="2147483869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3151881014" sldId="2147483870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1877298259" sldId="2147483871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748781694" sldId="2147483872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39790588" sldId="2147483873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3045416944" sldId="2147483874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83857598" sldId="2147483875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2203511923" sldId="2147483876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2010088304" sldId="2147483877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1069769739" sldId="2147483878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4956108" sldId="2147483879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1899137892" sldId="2147483880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852058608" sldId="2147483881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1186545118" sldId="2147483882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1:24:29.082" v="0"/>
          <pc:sldLayoutMkLst>
            <pc:docMk/>
            <pc:sldMasterMk cId="587283740" sldId="2147483868"/>
            <pc:sldLayoutMk cId="2782348609" sldId="2147483883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2564872311" sldId="2147483884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3021414335" sldId="2147483885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2539469690" sldId="2147483886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2282225237" sldId="2147483887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2790301888" sldId="2147483888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3085785537" sldId="2147483889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3806129448" sldId="2147483890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541286108" sldId="2147483891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1423130416" sldId="2147483892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509427662" sldId="2147483893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1520684675" sldId="2147483894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12545557" sldId="2147483895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3983921155" sldId="2147483896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4070560924" sldId="2147483897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971055200" sldId="2147483898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407112792" sldId="2147483899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3441623815" sldId="2147483900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161914211" sldId="2147483901"/>
          </pc:sldLayoutMkLst>
        </pc:sldLayoutChg>
        <pc:sldLayoutChg chg="replId">
          <pc:chgData name="Hamila Naoufel" userId="S::naoufel.hamila@inetum.com::e965c851-6e2b-4d98-9bc8-c6a9879c5eb9" providerId="AD" clId="Web-{A04C8C0C-AFF3-8024-33F4-367C079B0408}" dt="2022-02-11T12:38:44.859" v="310"/>
          <pc:sldLayoutMkLst>
            <pc:docMk/>
            <pc:sldMasterMk cId="587283740" sldId="2147483868"/>
            <pc:sldLayoutMk cId="1001952018" sldId="2147483902"/>
          </pc:sldLayoutMkLst>
        </pc:sldLayoutChg>
      </pc:sldMasterChg>
      <pc:sldMasterChg chg="add addSldLayout">
        <pc:chgData name="Hamila Naoufel" userId="S::naoufel.hamila@inetum.com::e965c851-6e2b-4d98-9bc8-c6a9879c5eb9" providerId="AD" clId="Web-{A04C8C0C-AFF3-8024-33F4-367C079B0408}" dt="2022-02-11T14:20:19.034" v="925"/>
        <pc:sldMasterMkLst>
          <pc:docMk/>
          <pc:sldMasterMk cId="1955524939" sldId="2147483903"/>
        </pc:sldMasterMkLst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572006586" sldId="214748390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911604358" sldId="214748390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4147801652" sldId="2147483906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85913570" sldId="2147483907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2381962089" sldId="2147483908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3573036155" sldId="2147483909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707040334" sldId="2147483910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3531882428" sldId="2147483911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2129845258" sldId="2147483912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2970511281" sldId="2147483913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3286398625" sldId="214748391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2980599020" sldId="214748391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236407480" sldId="2147483916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2055759638" sldId="2147483917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721381575" sldId="2147483918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4002625172" sldId="2147483919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3120759584" sldId="2147483920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1283881484" sldId="2147483921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151363971" sldId="2147483922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13129443" sldId="2147483923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4256241936" sldId="214748392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1432970584" sldId="214748392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3674525988" sldId="2147483926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1411583153" sldId="2147483927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4094695175" sldId="2147483928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3734880502" sldId="2147483929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0:19.034" v="925"/>
          <pc:sldLayoutMkLst>
            <pc:docMk/>
            <pc:sldMasterMk cId="1955524939" sldId="2147483903"/>
            <pc:sldLayoutMk cId="1717385752" sldId="2147483930"/>
          </pc:sldLayoutMkLst>
        </pc:sldLayoutChg>
      </pc:sldMasterChg>
      <pc:sldMasterChg chg="add addSldLayout">
        <pc:chgData name="Hamila Naoufel" userId="S::naoufel.hamila@inetum.com::e965c851-6e2b-4d98-9bc8-c6a9879c5eb9" providerId="AD" clId="Web-{A04C8C0C-AFF3-8024-33F4-367C079B0408}" dt="2022-02-11T14:24:52.050" v="931"/>
        <pc:sldMasterMkLst>
          <pc:docMk/>
          <pc:sldMasterMk cId="1955524939" sldId="2147483931"/>
        </pc:sldMasterMkLst>
        <pc:sldLayoutChg chg="ad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931"/>
            <pc:sldLayoutMk cId="4016107659" sldId="2147483722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931"/>
            <pc:sldLayoutMk cId="779346140" sldId="2147483723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931"/>
            <pc:sldLayoutMk cId="2334365715" sldId="214748372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931"/>
            <pc:sldLayoutMk cId="2999159457" sldId="214748372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931"/>
            <pc:sldLayoutMk cId="572006586" sldId="2147483932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931"/>
            <pc:sldLayoutMk cId="707040334" sldId="2147483933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931"/>
            <pc:sldLayoutMk cId="236407480" sldId="2147483934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931"/>
            <pc:sldLayoutMk cId="2055759638" sldId="2147483935"/>
          </pc:sldLayoutMkLst>
        </pc:sldLayoutChg>
        <pc:sldLayoutChg chg="add">
          <pc:chgData name="Hamila Naoufel" userId="S::naoufel.hamila@inetum.com::e965c851-6e2b-4d98-9bc8-c6a9879c5eb9" providerId="AD" clId="Web-{A04C8C0C-AFF3-8024-33F4-367C079B0408}" dt="2022-02-11T14:24:52.050" v="931"/>
          <pc:sldLayoutMkLst>
            <pc:docMk/>
            <pc:sldMasterMk cId="1955524939" sldId="2147483931"/>
            <pc:sldLayoutMk cId="3734880502" sldId="2147483937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8F78C6-9F51-47F5-9D9F-4B899C5520F0}" type="datetimeFigureOut">
              <a:rPr lang="fr-FR" smtClean="0"/>
              <a:t>08/08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FB1C8A-FDB3-44D0-B39F-2BBFCAFF878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3979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5899150" y="1143000"/>
            <a:ext cx="44577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Ajouter la design </a:t>
            </a:r>
            <a:r>
              <a:rPr lang="fr-FR" err="1"/>
              <a:t>autotity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9A1F5-4A2A-448C-ABA7-4ABB927911D5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414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5899150" y="1143000"/>
            <a:ext cx="44577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Fonctionnement administration (pour </a:t>
            </a:r>
            <a:r>
              <a:rPr lang="fr-FR" err="1"/>
              <a:t>Gedelib</a:t>
            </a:r>
            <a:r>
              <a:rPr lang="fr-FR"/>
              <a:t>)=&gt; </a:t>
            </a:r>
            <a:r>
              <a:rPr lang="fr-FR" err="1"/>
              <a:t>squad</a:t>
            </a:r>
            <a:r>
              <a:rPr lang="fr-FR"/>
              <a:t> 1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9A1F5-4A2A-448C-ABA7-4ABB927911D5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95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5899150" y="1143000"/>
            <a:ext cx="44577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9A1F5-4A2A-448C-ABA7-4ABB927911D5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42943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38.svg"/><Relationship Id="rId7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38.svg"/><Relationship Id="rId7" Type="http://schemas.openxmlformats.org/officeDocument/2006/relationships/image" Target="../media/image46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38.svg"/><Relationship Id="rId7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38.svg"/><Relationship Id="rId7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688" y="1271557"/>
            <a:ext cx="8536636" cy="1631033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688" y="3226182"/>
            <a:ext cx="8536636" cy="1341488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cxnSp>
        <p:nvCxnSpPr>
          <p:cNvPr id="8" name="Straight Connector 12"/>
          <p:cNvCxnSpPr/>
          <p:nvPr userDrawn="1"/>
        </p:nvCxnSpPr>
        <p:spPr>
          <a:xfrm>
            <a:off x="4039681" y="3069330"/>
            <a:ext cx="1824429" cy="0"/>
          </a:xfrm>
          <a:prstGeom prst="line">
            <a:avLst/>
          </a:prstGeom>
          <a:ln w="19050" cap="rnd" cmpd="sng">
            <a:solidFill>
              <a:schemeClr val="accent1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1"/>
          <p:cNvSpPr txBox="1"/>
          <p:nvPr userDrawn="1"/>
        </p:nvSpPr>
        <p:spPr>
          <a:xfrm>
            <a:off x="0" y="6494481"/>
            <a:ext cx="9906000" cy="36352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5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9047" y="6559609"/>
            <a:ext cx="3458496" cy="230900"/>
          </a:xfrm>
        </p:spPr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0661" y="5798340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593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55419"/>
            <a:ext cx="9905999" cy="18025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30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3857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ver ">
    <p:bg>
      <p:bgPr>
        <a:solidFill>
          <a:srgbClr val="222C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00658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568821" y="3581017"/>
            <a:ext cx="8768358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Habilitations et </a:t>
            </a:r>
            <a:r>
              <a:rPr lang="en-US" noProof="0" dirty="0" err="1"/>
              <a:t>Confidentialité</a:t>
            </a:r>
            <a:r>
              <a:rPr lang="en-US" noProof="0" dirty="0"/>
              <a:t> IKOS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tx2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02/03/2021  |  ©2020 Inetum  | Ref. XXXXXX v1.0</a:t>
            </a:r>
          </a:p>
          <a:p>
            <a:r>
              <a:rPr lang="en-US" dirty="0"/>
              <a:t>Classification: internal document</a:t>
            </a:r>
          </a:p>
          <a:p>
            <a:r>
              <a:rPr lang="en-US" dirty="0"/>
              <a:t>Habilitations et </a:t>
            </a:r>
            <a:r>
              <a:rPr lang="en-US" dirty="0" err="1"/>
              <a:t>Confidentialité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6043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215033" y="1669251"/>
            <a:ext cx="5130998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troduction</a:t>
            </a: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" name="object 4">
            <a:extLst>
              <a:ext uri="{FF2B5EF4-FFF2-40B4-BE49-F238E27FC236}">
                <a16:creationId xmlns:a16="http://schemas.microsoft.com/office/drawing/2014/main" id="{D3C0EACF-3AD5-4884-9531-06FDA14E14F3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8F84A533-D15F-4251-B825-30C4967127B7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5815314C-9423-41A5-BEA4-E339EE8896A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1E59CB-5F39-462D-B61D-4A4C7D89DC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5033" y="2227416"/>
            <a:ext cx="5130998" cy="182985"/>
          </a:xfrm>
        </p:spPr>
        <p:txBody>
          <a:bodyPr wrap="square" tIns="14400">
            <a:spAutoFit/>
          </a:bodyPr>
          <a:lstStyle>
            <a:lvl1pPr>
              <a:spcBef>
                <a:spcPts val="0"/>
              </a:spcBef>
              <a:defRPr sz="1097">
                <a:solidFill>
                  <a:schemeClr val="accent3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43F9D-3345-4E29-AB08-377E0B10E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 sz="609"/>
              <a:t>Classification: [choose internal, external or confidential] document</a:t>
            </a:r>
          </a:p>
          <a:p>
            <a:r>
              <a:rPr lang="en-US" sz="609"/>
              <a:t>PRESENTATION TITLE</a:t>
            </a:r>
            <a:endParaRPr lang="en-US" sz="609" dirty="0"/>
          </a:p>
        </p:txBody>
      </p:sp>
    </p:spTree>
    <p:extLst>
      <p:ext uri="{BB962C8B-B14F-4D97-AF65-F5344CB8AC3E}">
        <p14:creationId xmlns:p14="http://schemas.microsoft.com/office/powerpoint/2010/main" val="414780165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3" name="Text Placeholder 31">
            <a:extLst>
              <a:ext uri="{FF2B5EF4-FFF2-40B4-BE49-F238E27FC236}">
                <a16:creationId xmlns:a16="http://schemas.microsoft.com/office/drawing/2014/main" id="{3511C7BF-3840-4CE8-BB5B-C7B08391350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37088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14" name="Text Placeholder 18">
            <a:extLst>
              <a:ext uri="{FF2B5EF4-FFF2-40B4-BE49-F238E27FC236}">
                <a16:creationId xmlns:a16="http://schemas.microsoft.com/office/drawing/2014/main" id="{EFD58F2A-B07B-4D2B-8951-E00DDA67D76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802041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5" name="Text Placeholder 18">
            <a:extLst>
              <a:ext uri="{FF2B5EF4-FFF2-40B4-BE49-F238E27FC236}">
                <a16:creationId xmlns:a16="http://schemas.microsoft.com/office/drawing/2014/main" id="{A3AA694F-FB48-41A8-B07B-EC1F3B40C39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802040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0" name="Text Placeholder 18">
            <a:extLst>
              <a:ext uri="{FF2B5EF4-FFF2-40B4-BE49-F238E27FC236}">
                <a16:creationId xmlns:a16="http://schemas.microsoft.com/office/drawing/2014/main" id="{8465A35D-EC66-40E8-80CC-6934147C890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837254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3" name="Text Placeholder 31">
            <a:extLst>
              <a:ext uri="{FF2B5EF4-FFF2-40B4-BE49-F238E27FC236}">
                <a16:creationId xmlns:a16="http://schemas.microsoft.com/office/drawing/2014/main" id="{F5A26CFA-C26B-4F48-AFCC-68C933599A6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7212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4" name="Text Placeholder 18">
            <a:extLst>
              <a:ext uri="{FF2B5EF4-FFF2-40B4-BE49-F238E27FC236}">
                <a16:creationId xmlns:a16="http://schemas.microsoft.com/office/drawing/2014/main" id="{248854A8-0EED-4EC1-81BB-9B97B87D848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122165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5" name="Text Placeholder 18">
            <a:extLst>
              <a:ext uri="{FF2B5EF4-FFF2-40B4-BE49-F238E27FC236}">
                <a16:creationId xmlns:a16="http://schemas.microsoft.com/office/drawing/2014/main" id="{FF847E46-100F-4B85-ABC9-C63CBCF3D74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122164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6" name="Text Placeholder 18">
            <a:extLst>
              <a:ext uri="{FF2B5EF4-FFF2-40B4-BE49-F238E27FC236}">
                <a16:creationId xmlns:a16="http://schemas.microsoft.com/office/drawing/2014/main" id="{1EDAB9D3-F6BE-48C5-94F8-F0CEB0166F3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57378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7" name="Text Placeholder 31">
            <a:extLst>
              <a:ext uri="{FF2B5EF4-FFF2-40B4-BE49-F238E27FC236}">
                <a16:creationId xmlns:a16="http://schemas.microsoft.com/office/drawing/2014/main" id="{6FFEF1B8-6626-4B8C-86D2-FD64ECC7E0E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8" name="Text Placeholder 18">
            <a:extLst>
              <a:ext uri="{FF2B5EF4-FFF2-40B4-BE49-F238E27FC236}">
                <a16:creationId xmlns:a16="http://schemas.microsoft.com/office/drawing/2014/main" id="{5F1270D3-9E35-4323-99FB-4AA40123E72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9" name="Text Placeholder 18">
            <a:extLst>
              <a:ext uri="{FF2B5EF4-FFF2-40B4-BE49-F238E27FC236}">
                <a16:creationId xmlns:a16="http://schemas.microsoft.com/office/drawing/2014/main" id="{1C93CA53-2F3D-4CA4-A60D-15B2C8F9278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0" name="Text Placeholder 18">
            <a:extLst>
              <a:ext uri="{FF2B5EF4-FFF2-40B4-BE49-F238E27FC236}">
                <a16:creationId xmlns:a16="http://schemas.microsoft.com/office/drawing/2014/main" id="{93C6D7CE-3B53-4781-9604-D0FE8BEF0B5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1" name="Text Placeholder 31">
            <a:extLst>
              <a:ext uri="{FF2B5EF4-FFF2-40B4-BE49-F238E27FC236}">
                <a16:creationId xmlns:a16="http://schemas.microsoft.com/office/drawing/2014/main" id="{F09C8D30-46AD-4E01-B69D-ECF0E9639720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2" name="Text Placeholder 18">
            <a:extLst>
              <a:ext uri="{FF2B5EF4-FFF2-40B4-BE49-F238E27FC236}">
                <a16:creationId xmlns:a16="http://schemas.microsoft.com/office/drawing/2014/main" id="{6BBF8358-0312-4476-A379-4092F5096A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131FAF0A-F8E5-4E88-BBC2-856B2610CB5C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DF585C99-0360-4056-A9DA-37C046EC20F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2D049B-FF10-4FE9-B55A-5E1428FB2026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1" name="Titre 3">
            <a:extLst>
              <a:ext uri="{FF2B5EF4-FFF2-40B4-BE49-F238E27FC236}">
                <a16:creationId xmlns:a16="http://schemas.microsoft.com/office/drawing/2014/main" id="{AE0B397F-537F-475A-B197-1EC9819F9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859135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2" name="Text Placeholder 31">
            <a:extLst>
              <a:ext uri="{FF2B5EF4-FFF2-40B4-BE49-F238E27FC236}">
                <a16:creationId xmlns:a16="http://schemas.microsoft.com/office/drawing/2014/main" id="{7EC72E04-62A6-456D-9129-8BFC76A3EA7B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3" name="Text Placeholder 18">
            <a:extLst>
              <a:ext uri="{FF2B5EF4-FFF2-40B4-BE49-F238E27FC236}">
                <a16:creationId xmlns:a16="http://schemas.microsoft.com/office/drawing/2014/main" id="{75D73ABA-CA4C-4758-A70B-18788A7152E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4" name="Text Placeholder 18">
            <a:extLst>
              <a:ext uri="{FF2B5EF4-FFF2-40B4-BE49-F238E27FC236}">
                <a16:creationId xmlns:a16="http://schemas.microsoft.com/office/drawing/2014/main" id="{46C41AE2-59D8-4B49-848B-EA4CBB402683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5" name="Text Placeholder 18">
            <a:extLst>
              <a:ext uri="{FF2B5EF4-FFF2-40B4-BE49-F238E27FC236}">
                <a16:creationId xmlns:a16="http://schemas.microsoft.com/office/drawing/2014/main" id="{2220B1D5-71D2-48C3-A929-898FF8C1F57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06" name="Text Placeholder 31">
            <a:extLst>
              <a:ext uri="{FF2B5EF4-FFF2-40B4-BE49-F238E27FC236}">
                <a16:creationId xmlns:a16="http://schemas.microsoft.com/office/drawing/2014/main" id="{E2D825A0-520D-4092-8235-41A32121B04E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7" name="Text Placeholder 18">
            <a:extLst>
              <a:ext uri="{FF2B5EF4-FFF2-40B4-BE49-F238E27FC236}">
                <a16:creationId xmlns:a16="http://schemas.microsoft.com/office/drawing/2014/main" id="{22E612C7-1A1F-493A-8A38-C03F18CC687E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24428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8" name="Text Placeholder 18">
            <a:extLst>
              <a:ext uri="{FF2B5EF4-FFF2-40B4-BE49-F238E27FC236}">
                <a16:creationId xmlns:a16="http://schemas.microsoft.com/office/drawing/2014/main" id="{649F1CE4-C3CE-4985-AD3E-FC4A4AC0C2B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4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9" name="Text Placeholder 18">
            <a:extLst>
              <a:ext uri="{FF2B5EF4-FFF2-40B4-BE49-F238E27FC236}">
                <a16:creationId xmlns:a16="http://schemas.microsoft.com/office/drawing/2014/main" id="{CB3A685A-DB20-4E5A-9F48-2108FDDDF82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5" name="Text Placeholder 31">
            <a:extLst>
              <a:ext uri="{FF2B5EF4-FFF2-40B4-BE49-F238E27FC236}">
                <a16:creationId xmlns:a16="http://schemas.microsoft.com/office/drawing/2014/main" id="{FB61BDCE-020E-4BCF-9B3C-320CC2C9B7A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26" name="Text Placeholder 18">
            <a:extLst>
              <a:ext uri="{FF2B5EF4-FFF2-40B4-BE49-F238E27FC236}">
                <a16:creationId xmlns:a16="http://schemas.microsoft.com/office/drawing/2014/main" id="{13C2CDE7-3771-468A-A640-29AA16C285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27" name="Text Placeholder 18">
            <a:extLst>
              <a:ext uri="{FF2B5EF4-FFF2-40B4-BE49-F238E27FC236}">
                <a16:creationId xmlns:a16="http://schemas.microsoft.com/office/drawing/2014/main" id="{831093BB-2135-4302-AD17-917734EC88A6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28" name="Text Placeholder 18">
            <a:extLst>
              <a:ext uri="{FF2B5EF4-FFF2-40B4-BE49-F238E27FC236}">
                <a16:creationId xmlns:a16="http://schemas.microsoft.com/office/drawing/2014/main" id="{EF93369E-2C3E-4EE7-8D1D-99C239A339E3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9" name="Text Placeholder 31">
            <a:extLst>
              <a:ext uri="{FF2B5EF4-FFF2-40B4-BE49-F238E27FC236}">
                <a16:creationId xmlns:a16="http://schemas.microsoft.com/office/drawing/2014/main" id="{C287AF80-AE6B-424F-8FDB-B11EF6A13FB2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1" name="Text Placeholder 18">
            <a:extLst>
              <a:ext uri="{FF2B5EF4-FFF2-40B4-BE49-F238E27FC236}">
                <a16:creationId xmlns:a16="http://schemas.microsoft.com/office/drawing/2014/main" id="{61424F3E-758A-41A8-BED0-46CF7C78F3D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1" y="324428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2" name="Text Placeholder 18">
            <a:extLst>
              <a:ext uri="{FF2B5EF4-FFF2-40B4-BE49-F238E27FC236}">
                <a16:creationId xmlns:a16="http://schemas.microsoft.com/office/drawing/2014/main" id="{C48A6046-5F7C-45C3-832A-2C969ACC9C87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7" name="Text Placeholder 18">
            <a:extLst>
              <a:ext uri="{FF2B5EF4-FFF2-40B4-BE49-F238E27FC236}">
                <a16:creationId xmlns:a16="http://schemas.microsoft.com/office/drawing/2014/main" id="{27D74F4C-9A89-4C62-9FBF-A53BF21FC90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2" name="Text Placeholder 31">
            <a:extLst>
              <a:ext uri="{FF2B5EF4-FFF2-40B4-BE49-F238E27FC236}">
                <a16:creationId xmlns:a16="http://schemas.microsoft.com/office/drawing/2014/main" id="{BD95E687-7F93-472F-98D4-EC938AA6550F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025B0146-CB38-42F3-839F-A26A6143E0F2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478310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A284474C-E457-4B47-BD17-F5D8229E4172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4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5" name="Text Placeholder 18">
            <a:extLst>
              <a:ext uri="{FF2B5EF4-FFF2-40B4-BE49-F238E27FC236}">
                <a16:creationId xmlns:a16="http://schemas.microsoft.com/office/drawing/2014/main" id="{BD29F203-3EED-448C-9A44-6A9AF6E4D1AE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6" name="Text Placeholder 31">
            <a:extLst>
              <a:ext uri="{FF2B5EF4-FFF2-40B4-BE49-F238E27FC236}">
                <a16:creationId xmlns:a16="http://schemas.microsoft.com/office/drawing/2014/main" id="{37A450F0-202F-4585-8D10-F0C9C63E8342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7" name="Text Placeholder 18">
            <a:extLst>
              <a:ext uri="{FF2B5EF4-FFF2-40B4-BE49-F238E27FC236}">
                <a16:creationId xmlns:a16="http://schemas.microsoft.com/office/drawing/2014/main" id="{F15D7F17-C51A-401A-B45B-C0DD68E1A185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1" y="478310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8" name="Text Placeholder 18">
            <a:extLst>
              <a:ext uri="{FF2B5EF4-FFF2-40B4-BE49-F238E27FC236}">
                <a16:creationId xmlns:a16="http://schemas.microsoft.com/office/drawing/2014/main" id="{EA613244-6AF1-4BED-B339-59144E1E2378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9" name="Text Placeholder 18">
            <a:extLst>
              <a:ext uri="{FF2B5EF4-FFF2-40B4-BE49-F238E27FC236}">
                <a16:creationId xmlns:a16="http://schemas.microsoft.com/office/drawing/2014/main" id="{015CB9AD-585C-4445-80B0-B9C7F59AD015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4F7EFA-6F22-4F7A-86D6-B9B9EFDEBF45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9" name="Titre 3">
            <a:extLst>
              <a:ext uri="{FF2B5EF4-FFF2-40B4-BE49-F238E27FC236}">
                <a16:creationId xmlns:a16="http://schemas.microsoft.com/office/drawing/2014/main" id="{EC744315-8B20-4BBE-A882-04AFDA114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38196208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28FBECDA-E756-436B-A2DF-561D7CBEB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7212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D29DD076-5F15-437B-BFD1-4316097E0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2165" y="170821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1" name="Text Placeholder 18">
            <a:extLst>
              <a:ext uri="{FF2B5EF4-FFF2-40B4-BE49-F238E27FC236}">
                <a16:creationId xmlns:a16="http://schemas.microsoft.com/office/drawing/2014/main" id="{2B1B91FE-791C-486B-BB38-16A0BC617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2164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1AD460FF-7D8C-43FC-A584-F7A2A0070B2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57378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6196209E-A760-418E-ABA2-4DD925C316F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6316DC73-28D4-4F73-B949-6F6F5D61C2F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266828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E6BEF16F-6B19-411C-B67C-B5AA0800E01A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6" name="Text Placeholder 18">
            <a:extLst>
              <a:ext uri="{FF2B5EF4-FFF2-40B4-BE49-F238E27FC236}">
                <a16:creationId xmlns:a16="http://schemas.microsoft.com/office/drawing/2014/main" id="{898B7DDA-82C5-4103-8C26-5F9811B20C9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7DA447D7-A877-45B8-B6FB-AE90751E8876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8" name="Text Placeholder 18">
            <a:extLst>
              <a:ext uri="{FF2B5EF4-FFF2-40B4-BE49-F238E27FC236}">
                <a16:creationId xmlns:a16="http://schemas.microsoft.com/office/drawing/2014/main" id="{CFE91535-724D-49F0-92FE-8CAB5C480A1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62589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3D27B957-835E-4BF0-9537-A1AC3D952B2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4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0" name="Text Placeholder 18">
            <a:extLst>
              <a:ext uri="{FF2B5EF4-FFF2-40B4-BE49-F238E27FC236}">
                <a16:creationId xmlns:a16="http://schemas.microsoft.com/office/drawing/2014/main" id="{F84C2754-E4E9-4354-B6CB-7B5B7AA5A828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8C74BB45-5D6F-48E6-9347-96EE0CC93A2A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57212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2" name="Text Placeholder 18">
            <a:extLst>
              <a:ext uri="{FF2B5EF4-FFF2-40B4-BE49-F238E27FC236}">
                <a16:creationId xmlns:a16="http://schemas.microsoft.com/office/drawing/2014/main" id="{BCD1C6AA-1F9C-4210-9D36-274FD1A6AE79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1122165" y="458350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3" name="Text Placeholder 18">
            <a:extLst>
              <a:ext uri="{FF2B5EF4-FFF2-40B4-BE49-F238E27FC236}">
                <a16:creationId xmlns:a16="http://schemas.microsoft.com/office/drawing/2014/main" id="{D180E97C-CAF1-4493-AD31-C1A8E60EAEF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122164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4" name="Text Placeholder 18">
            <a:extLst>
              <a:ext uri="{FF2B5EF4-FFF2-40B4-BE49-F238E27FC236}">
                <a16:creationId xmlns:a16="http://schemas.microsoft.com/office/drawing/2014/main" id="{7FE91E81-87F3-42A4-9446-8670F0C28A15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157378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5" name="Text Placeholder 31">
            <a:extLst>
              <a:ext uri="{FF2B5EF4-FFF2-40B4-BE49-F238E27FC236}">
                <a16:creationId xmlns:a16="http://schemas.microsoft.com/office/drawing/2014/main" id="{EDFC2B06-95E3-4B46-9D78-C5B889187574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237088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6" name="Text Placeholder 18">
            <a:extLst>
              <a:ext uri="{FF2B5EF4-FFF2-40B4-BE49-F238E27FC236}">
                <a16:creationId xmlns:a16="http://schemas.microsoft.com/office/drawing/2014/main" id="{5C8CF654-7CDC-4671-BA3F-6E43C2F3D930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802041" y="170821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7" name="Text Placeholder 18">
            <a:extLst>
              <a:ext uri="{FF2B5EF4-FFF2-40B4-BE49-F238E27FC236}">
                <a16:creationId xmlns:a16="http://schemas.microsoft.com/office/drawing/2014/main" id="{AA689F23-6793-46A5-BC3A-C3C394EB61B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802040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8" name="Text Placeholder 18">
            <a:extLst>
              <a:ext uri="{FF2B5EF4-FFF2-40B4-BE49-F238E27FC236}">
                <a16:creationId xmlns:a16="http://schemas.microsoft.com/office/drawing/2014/main" id="{ED61CF7D-5129-427A-9E6A-C2D5A0108EF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3" name="Text Placeholder 18">
            <a:extLst>
              <a:ext uri="{FF2B5EF4-FFF2-40B4-BE49-F238E27FC236}">
                <a16:creationId xmlns:a16="http://schemas.microsoft.com/office/drawing/2014/main" id="{C7919060-BAE1-42EF-8A05-3D8F26EC8E7B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4" name="Text Placeholder 31">
            <a:extLst>
              <a:ext uri="{FF2B5EF4-FFF2-40B4-BE49-F238E27FC236}">
                <a16:creationId xmlns:a16="http://schemas.microsoft.com/office/drawing/2014/main" id="{DA0FFCE8-6B8A-4E0A-9547-C340275471AA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85" name="Text Placeholder 18">
            <a:extLst>
              <a:ext uri="{FF2B5EF4-FFF2-40B4-BE49-F238E27FC236}">
                <a16:creationId xmlns:a16="http://schemas.microsoft.com/office/drawing/2014/main" id="{B46C006F-C71D-4DE1-A056-5B3A93CF50D9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266828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C3771224-2466-4D8A-A811-964F73AA6409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89" name="Text Placeholder 18">
            <a:extLst>
              <a:ext uri="{FF2B5EF4-FFF2-40B4-BE49-F238E27FC236}">
                <a16:creationId xmlns:a16="http://schemas.microsoft.com/office/drawing/2014/main" id="{76FE5254-0432-4E51-B71F-918A5A083FA8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0" name="Text Placeholder 31">
            <a:extLst>
              <a:ext uri="{FF2B5EF4-FFF2-40B4-BE49-F238E27FC236}">
                <a16:creationId xmlns:a16="http://schemas.microsoft.com/office/drawing/2014/main" id="{77CAFDB0-A524-4811-9A5F-832074D34A45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1" name="Text Placeholder 18">
            <a:extLst>
              <a:ext uri="{FF2B5EF4-FFF2-40B4-BE49-F238E27FC236}">
                <a16:creationId xmlns:a16="http://schemas.microsoft.com/office/drawing/2014/main" id="{2F7D0EC5-CECB-4014-B06D-B2DBCBFBBF3D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1" y="362589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2" name="Text Placeholder 18">
            <a:extLst>
              <a:ext uri="{FF2B5EF4-FFF2-40B4-BE49-F238E27FC236}">
                <a16:creationId xmlns:a16="http://schemas.microsoft.com/office/drawing/2014/main" id="{8751CD9A-A0F4-4CC8-8C88-10310AE524D6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3" name="Text Placeholder 18">
            <a:extLst>
              <a:ext uri="{FF2B5EF4-FFF2-40B4-BE49-F238E27FC236}">
                <a16:creationId xmlns:a16="http://schemas.microsoft.com/office/drawing/2014/main" id="{26FADFFE-C225-4705-860D-DF5D47B6C04F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4" name="Text Placeholder 31">
            <a:extLst>
              <a:ext uri="{FF2B5EF4-FFF2-40B4-BE49-F238E27FC236}">
                <a16:creationId xmlns:a16="http://schemas.microsoft.com/office/drawing/2014/main" id="{ED08C253-1799-4939-89C2-67FE0903595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5237088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5" name="Text Placeholder 18">
            <a:extLst>
              <a:ext uri="{FF2B5EF4-FFF2-40B4-BE49-F238E27FC236}">
                <a16:creationId xmlns:a16="http://schemas.microsoft.com/office/drawing/2014/main" id="{BA8F5A1C-3DDB-4EB6-A07B-B7ACBC8A5ACC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5802041" y="458350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6" name="Text Placeholder 18">
            <a:extLst>
              <a:ext uri="{FF2B5EF4-FFF2-40B4-BE49-F238E27FC236}">
                <a16:creationId xmlns:a16="http://schemas.microsoft.com/office/drawing/2014/main" id="{C6330ADC-D7C7-4EFD-8348-FF37C7A173BC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5802040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7" name="Text Placeholder 18">
            <a:extLst>
              <a:ext uri="{FF2B5EF4-FFF2-40B4-BE49-F238E27FC236}">
                <a16:creationId xmlns:a16="http://schemas.microsoft.com/office/drawing/2014/main" id="{81AE0480-C514-4AD9-8691-694E141EE29E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8837254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9" name="Text Placeholder 31">
            <a:extLst>
              <a:ext uri="{FF2B5EF4-FFF2-40B4-BE49-F238E27FC236}">
                <a16:creationId xmlns:a16="http://schemas.microsoft.com/office/drawing/2014/main" id="{7268FDA8-F92E-4936-B990-FD4E9F0CC01D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37FDC6EC-A640-488F-9644-3FDD22493BD3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5540673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1873EAFB-A062-4833-B06F-62FD2E7C3DF9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4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2" name="Text Placeholder 18">
            <a:extLst>
              <a:ext uri="{FF2B5EF4-FFF2-40B4-BE49-F238E27FC236}">
                <a16:creationId xmlns:a16="http://schemas.microsoft.com/office/drawing/2014/main" id="{EE221A43-C270-4544-94DF-1ABABF451BBD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3" name="Text Placeholder 31">
            <a:extLst>
              <a:ext uri="{FF2B5EF4-FFF2-40B4-BE49-F238E27FC236}">
                <a16:creationId xmlns:a16="http://schemas.microsoft.com/office/drawing/2014/main" id="{9D8E4515-6F96-4F02-B988-811445E2351C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A17A929F-E044-48C5-9DD8-B47C3EF2AE1C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1" y="5540673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5D5ECF6A-91FB-4513-9425-F01C4C10BAB1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2F7DB677-C811-448B-9E9D-A05B83375084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3DF68-D79F-4DB1-B4FD-A39341DF1E94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7" name="Titre 3">
            <a:extLst>
              <a:ext uri="{FF2B5EF4-FFF2-40B4-BE49-F238E27FC236}">
                <a16:creationId xmlns:a16="http://schemas.microsoft.com/office/drawing/2014/main" id="{44057687-C51E-48EF-8ABC-CF8D8466D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5730361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rgbClr val="005473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04033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88242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tx2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2" name="Holder 2">
            <a:extLst>
              <a:ext uri="{FF2B5EF4-FFF2-40B4-BE49-F238E27FC236}">
                <a16:creationId xmlns:a16="http://schemas.microsoft.com/office/drawing/2014/main" id="{85B5B0C2-1E62-4343-9450-2B0AC120F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43129-780B-4E39-9EAF-CD2ED887D3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845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 descr="iStock_000006458257XSmal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67300"/>
            <a:ext cx="9906000" cy="18660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78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Sub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51128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39862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older 2">
            <a:extLst>
              <a:ext uri="{FF2B5EF4-FFF2-40B4-BE49-F238E27FC236}">
                <a16:creationId xmlns:a16="http://schemas.microsoft.com/office/drawing/2014/main" id="{76858CF1-1FE0-48C5-9C43-47EFD7F92F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1ABED16D-E05F-4052-AFDC-7D0B069E48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B56387-D400-4873-990C-66F86EBA3E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9EE1458B-1ACC-4A60-A6DA-3A183AD4A703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14AF817-4FA3-4511-BF85-552078C6E679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C87F872C-9C1D-4419-83CD-C89DB3A9AD0E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</p:spTree>
    <p:extLst>
      <p:ext uri="{BB962C8B-B14F-4D97-AF65-F5344CB8AC3E}">
        <p14:creationId xmlns:p14="http://schemas.microsoft.com/office/powerpoint/2010/main" val="298059902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748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372477"/>
          </a:xfr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75963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146CF11-ED2C-4591-88BE-369AC6EB33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23868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2ED684-1935-43C9-97F6-7524175924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3815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832D763-A691-4EC4-9C13-3AFE8C77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65735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32815573-BF96-4315-998A-9A2D6B6189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1995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7E27E1-2C18-42F3-914E-B1AF02DA0F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6251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48C2F0-8F0D-4C02-9F19-6DF2108E0F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7595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A6FBA34-91D9-42CD-A3FE-DC53ABE99F6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31606" y="2057400"/>
            <a:ext cx="4117181" cy="4102899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BF8A56-100E-4902-968B-3CDFE43D67D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88148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5755A9E-B5F9-42B8-A663-09F0B19A19E0}"/>
              </a:ext>
            </a:extLst>
          </p:cNvPr>
          <p:cNvSpPr/>
          <p:nvPr userDrawn="1"/>
        </p:nvSpPr>
        <p:spPr>
          <a:xfrm>
            <a:off x="0" y="0"/>
            <a:ext cx="32194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1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3DC93F4-A945-42B6-9692-126B44277D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7999"/>
          </a:xfrm>
          <a:custGeom>
            <a:avLst/>
            <a:gdLst>
              <a:gd name="connsiteX0" fmla="*/ 0 w 5283200"/>
              <a:gd name="connsiteY0" fmla="*/ 0 h 9143998"/>
              <a:gd name="connsiteX1" fmla="*/ 3454400 w 5283200"/>
              <a:gd name="connsiteY1" fmla="*/ 0 h 9143998"/>
              <a:gd name="connsiteX2" fmla="*/ 3454400 w 5283200"/>
              <a:gd name="connsiteY2" fmla="*/ 914400 h 9143998"/>
              <a:gd name="connsiteX3" fmla="*/ 4368800 w 5283200"/>
              <a:gd name="connsiteY3" fmla="*/ 914400 h 9143998"/>
              <a:gd name="connsiteX4" fmla="*/ 4368800 w 5283200"/>
              <a:gd name="connsiteY4" fmla="*/ 1828800 h 9143998"/>
              <a:gd name="connsiteX5" fmla="*/ 5283200 w 5283200"/>
              <a:gd name="connsiteY5" fmla="*/ 1828800 h 9143998"/>
              <a:gd name="connsiteX6" fmla="*/ 5283200 w 5283200"/>
              <a:gd name="connsiteY6" fmla="*/ 9143998 h 9143998"/>
              <a:gd name="connsiteX7" fmla="*/ 0 w 5283200"/>
              <a:gd name="connsiteY7" fmla="*/ 9143998 h 9143998"/>
              <a:gd name="connsiteX8" fmla="*/ 0 w 5283200"/>
              <a:gd name="connsiteY8" fmla="*/ 9143403 h 9143998"/>
              <a:gd name="connsiteX9" fmla="*/ 912533 w 5283200"/>
              <a:gd name="connsiteY9" fmla="*/ 9143403 h 9143998"/>
              <a:gd name="connsiteX10" fmla="*/ 912533 w 5283200"/>
              <a:gd name="connsiteY10" fmla="*/ 8230869 h 9143998"/>
              <a:gd name="connsiteX11" fmla="*/ 0 w 5283200"/>
              <a:gd name="connsiteY11" fmla="*/ 8230869 h 9143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83200" h="9143998">
                <a:moveTo>
                  <a:pt x="0" y="0"/>
                </a:moveTo>
                <a:lnTo>
                  <a:pt x="3454400" y="0"/>
                </a:lnTo>
                <a:lnTo>
                  <a:pt x="3454400" y="914400"/>
                </a:lnTo>
                <a:lnTo>
                  <a:pt x="4368800" y="914400"/>
                </a:lnTo>
                <a:lnTo>
                  <a:pt x="4368800" y="1828800"/>
                </a:lnTo>
                <a:lnTo>
                  <a:pt x="5283200" y="1828800"/>
                </a:lnTo>
                <a:lnTo>
                  <a:pt x="5283200" y="9143998"/>
                </a:lnTo>
                <a:lnTo>
                  <a:pt x="0" y="9143998"/>
                </a:lnTo>
                <a:lnTo>
                  <a:pt x="0" y="9143403"/>
                </a:lnTo>
                <a:lnTo>
                  <a:pt x="912533" y="9143403"/>
                </a:lnTo>
                <a:lnTo>
                  <a:pt x="912533" y="8230869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3" y="697701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7222AF-D59D-4EB8-BA6C-7217DC9168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639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2423" y="1248355"/>
            <a:ext cx="4210050" cy="5230266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6636" y="1248355"/>
            <a:ext cx="4210050" cy="500172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878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E4A3B4F-5311-4EE8-988B-706C2D0D244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8000"/>
          </a:xfrm>
          <a:custGeom>
            <a:avLst/>
            <a:gdLst>
              <a:gd name="connsiteX0" fmla="*/ 0 w 5283200"/>
              <a:gd name="connsiteY0" fmla="*/ 0 h 9144000"/>
              <a:gd name="connsiteX1" fmla="*/ 3454400 w 5283200"/>
              <a:gd name="connsiteY1" fmla="*/ 0 h 9144000"/>
              <a:gd name="connsiteX2" fmla="*/ 5283200 w 5283200"/>
              <a:gd name="connsiteY2" fmla="*/ 0 h 9144000"/>
              <a:gd name="connsiteX3" fmla="*/ 5283200 w 5283200"/>
              <a:gd name="connsiteY3" fmla="*/ 1828800 h 9144000"/>
              <a:gd name="connsiteX4" fmla="*/ 5283200 w 5283200"/>
              <a:gd name="connsiteY4" fmla="*/ 3657599 h 9144000"/>
              <a:gd name="connsiteX5" fmla="*/ 4368800 w 5283200"/>
              <a:gd name="connsiteY5" fmla="*/ 3657599 h 9144000"/>
              <a:gd name="connsiteX6" fmla="*/ 4368800 w 5283200"/>
              <a:gd name="connsiteY6" fmla="*/ 4571999 h 9144000"/>
              <a:gd name="connsiteX7" fmla="*/ 3454400 w 5283200"/>
              <a:gd name="connsiteY7" fmla="*/ 4571999 h 9144000"/>
              <a:gd name="connsiteX8" fmla="*/ 3454400 w 5283200"/>
              <a:gd name="connsiteY8" fmla="*/ 5486399 h 9144000"/>
              <a:gd name="connsiteX9" fmla="*/ 4368800 w 5283200"/>
              <a:gd name="connsiteY9" fmla="*/ 5486399 h 9144000"/>
              <a:gd name="connsiteX10" fmla="*/ 4368800 w 5283200"/>
              <a:gd name="connsiteY10" fmla="*/ 4571999 h 9144000"/>
              <a:gd name="connsiteX11" fmla="*/ 5283200 w 5283200"/>
              <a:gd name="connsiteY11" fmla="*/ 4571999 h 9144000"/>
              <a:gd name="connsiteX12" fmla="*/ 5283200 w 5283200"/>
              <a:gd name="connsiteY12" fmla="*/ 9143998 h 9144000"/>
              <a:gd name="connsiteX13" fmla="*/ 5283200 w 5283200"/>
              <a:gd name="connsiteY13" fmla="*/ 9144000 h 9144000"/>
              <a:gd name="connsiteX14" fmla="*/ 0 w 5283200"/>
              <a:gd name="connsiteY14" fmla="*/ 9144000 h 9144000"/>
              <a:gd name="connsiteX15" fmla="*/ 0 w 5283200"/>
              <a:gd name="connsiteY15" fmla="*/ 9143998 h 9144000"/>
              <a:gd name="connsiteX16" fmla="*/ 0 w 5283200"/>
              <a:gd name="connsiteY16" fmla="*/ 9143403 h 9144000"/>
              <a:gd name="connsiteX17" fmla="*/ 0 w 5283200"/>
              <a:gd name="connsiteY17" fmla="*/ 8230869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283200" h="9144000">
                <a:moveTo>
                  <a:pt x="0" y="0"/>
                </a:moveTo>
                <a:lnTo>
                  <a:pt x="3454400" y="0"/>
                </a:lnTo>
                <a:lnTo>
                  <a:pt x="5283200" y="0"/>
                </a:lnTo>
                <a:lnTo>
                  <a:pt x="5283200" y="1828800"/>
                </a:lnTo>
                <a:lnTo>
                  <a:pt x="5283200" y="3657599"/>
                </a:lnTo>
                <a:lnTo>
                  <a:pt x="4368800" y="3657599"/>
                </a:lnTo>
                <a:lnTo>
                  <a:pt x="4368800" y="4571999"/>
                </a:lnTo>
                <a:lnTo>
                  <a:pt x="3454400" y="4571999"/>
                </a:lnTo>
                <a:lnTo>
                  <a:pt x="3454400" y="5486399"/>
                </a:lnTo>
                <a:lnTo>
                  <a:pt x="4368800" y="5486399"/>
                </a:lnTo>
                <a:lnTo>
                  <a:pt x="4368800" y="4571999"/>
                </a:lnTo>
                <a:lnTo>
                  <a:pt x="5283200" y="4571999"/>
                </a:lnTo>
                <a:lnTo>
                  <a:pt x="5283200" y="9143998"/>
                </a:lnTo>
                <a:lnTo>
                  <a:pt x="5283200" y="9144000"/>
                </a:lnTo>
                <a:lnTo>
                  <a:pt x="0" y="9144000"/>
                </a:lnTo>
                <a:lnTo>
                  <a:pt x="0" y="9143998"/>
                </a:lnTo>
                <a:lnTo>
                  <a:pt x="0" y="9143403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3" y="697701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41779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0B7646-0E4D-436E-80FB-4FABC82744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944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C8E13DE4-5314-44E1-9E54-71B64E53C8D6}"/>
              </a:ext>
            </a:extLst>
          </p:cNvPr>
          <p:cNvSpPr/>
          <p:nvPr userDrawn="1"/>
        </p:nvSpPr>
        <p:spPr>
          <a:xfrm>
            <a:off x="3219450" y="411480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33875" y="2743200"/>
            <a:ext cx="5014913" cy="3428999"/>
          </a:xfrm>
          <a:solidFill>
            <a:schemeClr val="bg1"/>
          </a:solidFill>
        </p:spPr>
        <p:txBody>
          <a:bodyPr wrap="square" lIns="378000" tIns="39600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pic>
        <p:nvPicPr>
          <p:cNvPr id="5" name="Graphique 30">
            <a:extLst>
              <a:ext uri="{FF2B5EF4-FFF2-40B4-BE49-F238E27FC236}">
                <a16:creationId xmlns:a16="http://schemas.microsoft.com/office/drawing/2014/main" id="{E0424D29-3A81-4B93-B976-4CFAA6EE35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992156-85B6-4A34-BE33-8131FE99998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2419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FC103ADA-D47B-4E9B-AEDE-C787C53F5E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37197" y="3895801"/>
            <a:ext cx="1143446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EF4B44C-FC5F-4865-A2CA-6AD146697A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87416" y="3895801"/>
            <a:ext cx="1143446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132F59FA-5C54-4BEE-A151-61D1A5F550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47991" y="3802008"/>
            <a:ext cx="594604" cy="675798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AF6ED36D-FDAC-4123-A48A-812DD31A9EE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0086" y="3764498"/>
            <a:ext cx="609863" cy="7506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BD0662-49C5-48D6-8BC7-54C5A23568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97058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31C329BC-FFDC-4CD3-ABE4-D824343B7B3C}"/>
              </a:ext>
            </a:extLst>
          </p:cNvPr>
          <p:cNvSpPr/>
          <p:nvPr userDrawn="1"/>
        </p:nvSpPr>
        <p:spPr>
          <a:xfrm>
            <a:off x="8408712" y="739971"/>
            <a:ext cx="765780" cy="69056"/>
          </a:xfrm>
          <a:custGeom>
            <a:avLst/>
            <a:gdLst/>
            <a:ahLst/>
            <a:cxnLst/>
            <a:rect l="l" t="t" r="r" b="b"/>
            <a:pathLst>
              <a:path w="1256665" h="92075">
                <a:moveTo>
                  <a:pt x="1158062" y="19088"/>
                </a:moveTo>
                <a:lnTo>
                  <a:pt x="1141564" y="19088"/>
                </a:lnTo>
                <a:lnTo>
                  <a:pt x="1164450" y="69951"/>
                </a:lnTo>
                <a:lnTo>
                  <a:pt x="1184147" y="69951"/>
                </a:lnTo>
                <a:lnTo>
                  <a:pt x="1189028" y="58381"/>
                </a:lnTo>
                <a:lnTo>
                  <a:pt x="1174737" y="58381"/>
                </a:lnTo>
                <a:lnTo>
                  <a:pt x="1158062" y="19088"/>
                </a:lnTo>
                <a:close/>
              </a:path>
              <a:path w="1256665" h="92075">
                <a:moveTo>
                  <a:pt x="1214012" y="34544"/>
                </a:moveTo>
                <a:lnTo>
                  <a:pt x="1199083" y="34544"/>
                </a:lnTo>
                <a:lnTo>
                  <a:pt x="1214005" y="69951"/>
                </a:lnTo>
                <a:lnTo>
                  <a:pt x="1233703" y="69951"/>
                </a:lnTo>
                <a:lnTo>
                  <a:pt x="1238949" y="58293"/>
                </a:lnTo>
                <a:lnTo>
                  <a:pt x="1223429" y="58293"/>
                </a:lnTo>
                <a:lnTo>
                  <a:pt x="1214012" y="34544"/>
                </a:lnTo>
                <a:close/>
              </a:path>
              <a:path w="1256665" h="92075">
                <a:moveTo>
                  <a:pt x="1207884" y="19088"/>
                </a:moveTo>
                <a:lnTo>
                  <a:pt x="1190269" y="19088"/>
                </a:lnTo>
                <a:lnTo>
                  <a:pt x="1174737" y="58381"/>
                </a:lnTo>
                <a:lnTo>
                  <a:pt x="1189028" y="58381"/>
                </a:lnTo>
                <a:lnTo>
                  <a:pt x="1199083" y="34544"/>
                </a:lnTo>
                <a:lnTo>
                  <a:pt x="1214012" y="34544"/>
                </a:lnTo>
                <a:lnTo>
                  <a:pt x="1207884" y="19088"/>
                </a:lnTo>
                <a:close/>
              </a:path>
              <a:path w="1256665" h="92075">
                <a:moveTo>
                  <a:pt x="1256588" y="19088"/>
                </a:moveTo>
                <a:lnTo>
                  <a:pt x="1240091" y="19088"/>
                </a:lnTo>
                <a:lnTo>
                  <a:pt x="1223429" y="58293"/>
                </a:lnTo>
                <a:lnTo>
                  <a:pt x="1238949" y="58293"/>
                </a:lnTo>
                <a:lnTo>
                  <a:pt x="1256588" y="19088"/>
                </a:lnTo>
                <a:close/>
              </a:path>
              <a:path w="1256665" h="92075">
                <a:moveTo>
                  <a:pt x="1104366" y="18224"/>
                </a:moveTo>
                <a:lnTo>
                  <a:pt x="1089978" y="19704"/>
                </a:lnTo>
                <a:lnTo>
                  <a:pt x="1078855" y="24364"/>
                </a:lnTo>
                <a:lnTo>
                  <a:pt x="1071680" y="32540"/>
                </a:lnTo>
                <a:lnTo>
                  <a:pt x="1069136" y="44564"/>
                </a:lnTo>
                <a:lnTo>
                  <a:pt x="1071680" y="56531"/>
                </a:lnTo>
                <a:lnTo>
                  <a:pt x="1078855" y="64681"/>
                </a:lnTo>
                <a:lnTo>
                  <a:pt x="1089978" y="69335"/>
                </a:lnTo>
                <a:lnTo>
                  <a:pt x="1104366" y="70815"/>
                </a:lnTo>
                <a:lnTo>
                  <a:pt x="1118724" y="69335"/>
                </a:lnTo>
                <a:lnTo>
                  <a:pt x="1129855" y="64681"/>
                </a:lnTo>
                <a:lnTo>
                  <a:pt x="1135351" y="58458"/>
                </a:lnTo>
                <a:lnTo>
                  <a:pt x="1090637" y="58458"/>
                </a:lnTo>
                <a:lnTo>
                  <a:pt x="1083906" y="55092"/>
                </a:lnTo>
                <a:lnTo>
                  <a:pt x="1083906" y="33934"/>
                </a:lnTo>
                <a:lnTo>
                  <a:pt x="1090637" y="30568"/>
                </a:lnTo>
                <a:lnTo>
                  <a:pt x="1135317" y="30568"/>
                </a:lnTo>
                <a:lnTo>
                  <a:pt x="1129855" y="24364"/>
                </a:lnTo>
                <a:lnTo>
                  <a:pt x="1118724" y="19704"/>
                </a:lnTo>
                <a:lnTo>
                  <a:pt x="1104366" y="18224"/>
                </a:lnTo>
                <a:close/>
              </a:path>
              <a:path w="1256665" h="92075">
                <a:moveTo>
                  <a:pt x="1135317" y="30568"/>
                </a:moveTo>
                <a:lnTo>
                  <a:pt x="1118019" y="30568"/>
                </a:lnTo>
                <a:lnTo>
                  <a:pt x="1124750" y="33934"/>
                </a:lnTo>
                <a:lnTo>
                  <a:pt x="1124750" y="55092"/>
                </a:lnTo>
                <a:lnTo>
                  <a:pt x="1118019" y="58458"/>
                </a:lnTo>
                <a:lnTo>
                  <a:pt x="1135351" y="58458"/>
                </a:lnTo>
                <a:lnTo>
                  <a:pt x="1137052" y="56531"/>
                </a:lnTo>
                <a:lnTo>
                  <a:pt x="1139609" y="44564"/>
                </a:lnTo>
                <a:lnTo>
                  <a:pt x="1137052" y="32540"/>
                </a:lnTo>
                <a:lnTo>
                  <a:pt x="1135317" y="30568"/>
                </a:lnTo>
                <a:close/>
              </a:path>
              <a:path w="1256665" h="92075">
                <a:moveTo>
                  <a:pt x="1058354" y="863"/>
                </a:moveTo>
                <a:lnTo>
                  <a:pt x="1043584" y="863"/>
                </a:lnTo>
                <a:lnTo>
                  <a:pt x="1043584" y="69951"/>
                </a:lnTo>
                <a:lnTo>
                  <a:pt x="1058354" y="69951"/>
                </a:lnTo>
                <a:lnTo>
                  <a:pt x="1058354" y="863"/>
                </a:lnTo>
                <a:close/>
              </a:path>
              <a:path w="1256665" h="92075">
                <a:moveTo>
                  <a:pt x="1011313" y="31432"/>
                </a:moveTo>
                <a:lnTo>
                  <a:pt x="996467" y="31432"/>
                </a:lnTo>
                <a:lnTo>
                  <a:pt x="996467" y="69951"/>
                </a:lnTo>
                <a:lnTo>
                  <a:pt x="1011313" y="69951"/>
                </a:lnTo>
                <a:lnTo>
                  <a:pt x="1011313" y="31432"/>
                </a:lnTo>
                <a:close/>
              </a:path>
              <a:path w="1256665" h="92075">
                <a:moveTo>
                  <a:pt x="1032814" y="19088"/>
                </a:moveTo>
                <a:lnTo>
                  <a:pt x="983081" y="19088"/>
                </a:lnTo>
                <a:lnTo>
                  <a:pt x="983081" y="31432"/>
                </a:lnTo>
                <a:lnTo>
                  <a:pt x="1032814" y="31432"/>
                </a:lnTo>
                <a:lnTo>
                  <a:pt x="1032814" y="19088"/>
                </a:lnTo>
                <a:close/>
              </a:path>
              <a:path w="1256665" h="92075">
                <a:moveTo>
                  <a:pt x="1025296" y="0"/>
                </a:moveTo>
                <a:lnTo>
                  <a:pt x="1017523" y="0"/>
                </a:lnTo>
                <a:lnTo>
                  <a:pt x="1007970" y="931"/>
                </a:lnTo>
                <a:lnTo>
                  <a:pt x="1001428" y="3759"/>
                </a:lnTo>
                <a:lnTo>
                  <a:pt x="997669" y="8529"/>
                </a:lnTo>
                <a:lnTo>
                  <a:pt x="996467" y="15290"/>
                </a:lnTo>
                <a:lnTo>
                  <a:pt x="996467" y="19088"/>
                </a:lnTo>
                <a:lnTo>
                  <a:pt x="1011313" y="19088"/>
                </a:lnTo>
                <a:lnTo>
                  <a:pt x="1011567" y="12700"/>
                </a:lnTo>
                <a:lnTo>
                  <a:pt x="1013726" y="10883"/>
                </a:lnTo>
                <a:lnTo>
                  <a:pt x="1032814" y="10883"/>
                </a:lnTo>
                <a:lnTo>
                  <a:pt x="1032814" y="863"/>
                </a:lnTo>
                <a:lnTo>
                  <a:pt x="1025296" y="0"/>
                </a:lnTo>
                <a:close/>
              </a:path>
              <a:path w="1256665" h="92075">
                <a:moveTo>
                  <a:pt x="1032814" y="10883"/>
                </a:moveTo>
                <a:lnTo>
                  <a:pt x="1025994" y="10883"/>
                </a:lnTo>
                <a:lnTo>
                  <a:pt x="1029449" y="11061"/>
                </a:lnTo>
                <a:lnTo>
                  <a:pt x="1032814" y="11315"/>
                </a:lnTo>
                <a:lnTo>
                  <a:pt x="1032814" y="10883"/>
                </a:lnTo>
                <a:close/>
              </a:path>
              <a:path w="1256665" h="92075">
                <a:moveTo>
                  <a:pt x="926706" y="863"/>
                </a:moveTo>
                <a:lnTo>
                  <a:pt x="911936" y="863"/>
                </a:lnTo>
                <a:lnTo>
                  <a:pt x="911936" y="69951"/>
                </a:lnTo>
                <a:lnTo>
                  <a:pt x="926706" y="69951"/>
                </a:lnTo>
                <a:lnTo>
                  <a:pt x="926706" y="863"/>
                </a:lnTo>
                <a:close/>
              </a:path>
              <a:path w="1256665" h="92075">
                <a:moveTo>
                  <a:pt x="870343" y="37401"/>
                </a:moveTo>
                <a:lnTo>
                  <a:pt x="861631" y="37401"/>
                </a:lnTo>
                <a:lnTo>
                  <a:pt x="850026" y="38252"/>
                </a:lnTo>
                <a:lnTo>
                  <a:pt x="840244" y="41117"/>
                </a:lnTo>
                <a:lnTo>
                  <a:pt x="833492" y="46461"/>
                </a:lnTo>
                <a:lnTo>
                  <a:pt x="830973" y="54749"/>
                </a:lnTo>
                <a:lnTo>
                  <a:pt x="832585" y="62103"/>
                </a:lnTo>
                <a:lnTo>
                  <a:pt x="837199" y="67087"/>
                </a:lnTo>
                <a:lnTo>
                  <a:pt x="844486" y="69919"/>
                </a:lnTo>
                <a:lnTo>
                  <a:pt x="854113" y="70815"/>
                </a:lnTo>
                <a:lnTo>
                  <a:pt x="862743" y="70313"/>
                </a:lnTo>
                <a:lnTo>
                  <a:pt x="870702" y="68880"/>
                </a:lnTo>
                <a:lnTo>
                  <a:pt x="878094" y="66620"/>
                </a:lnTo>
                <a:lnTo>
                  <a:pt x="885024" y="63639"/>
                </a:lnTo>
                <a:lnTo>
                  <a:pt x="899871" y="63639"/>
                </a:lnTo>
                <a:lnTo>
                  <a:pt x="899871" y="59931"/>
                </a:lnTo>
                <a:lnTo>
                  <a:pt x="850658" y="59931"/>
                </a:lnTo>
                <a:lnTo>
                  <a:pt x="845731" y="59499"/>
                </a:lnTo>
                <a:lnTo>
                  <a:pt x="845731" y="48971"/>
                </a:lnTo>
                <a:lnTo>
                  <a:pt x="852385" y="47066"/>
                </a:lnTo>
                <a:lnTo>
                  <a:pt x="899871" y="47066"/>
                </a:lnTo>
                <a:lnTo>
                  <a:pt x="899871" y="44297"/>
                </a:lnTo>
                <a:lnTo>
                  <a:pt x="899248" y="41021"/>
                </a:lnTo>
                <a:lnTo>
                  <a:pt x="885024" y="41021"/>
                </a:lnTo>
                <a:lnTo>
                  <a:pt x="878382" y="38773"/>
                </a:lnTo>
                <a:lnTo>
                  <a:pt x="870343" y="37401"/>
                </a:lnTo>
                <a:close/>
              </a:path>
              <a:path w="1256665" h="92075">
                <a:moveTo>
                  <a:pt x="899871" y="63639"/>
                </a:moveTo>
                <a:lnTo>
                  <a:pt x="885024" y="63639"/>
                </a:lnTo>
                <a:lnTo>
                  <a:pt x="885024" y="69951"/>
                </a:lnTo>
                <a:lnTo>
                  <a:pt x="899871" y="69951"/>
                </a:lnTo>
                <a:lnTo>
                  <a:pt x="899871" y="63639"/>
                </a:lnTo>
                <a:close/>
              </a:path>
              <a:path w="1256665" h="92075">
                <a:moveTo>
                  <a:pt x="899871" y="47066"/>
                </a:moveTo>
                <a:lnTo>
                  <a:pt x="872858" y="47066"/>
                </a:lnTo>
                <a:lnTo>
                  <a:pt x="879843" y="48526"/>
                </a:lnTo>
                <a:lnTo>
                  <a:pt x="885024" y="50177"/>
                </a:lnTo>
                <a:lnTo>
                  <a:pt x="885024" y="54152"/>
                </a:lnTo>
                <a:lnTo>
                  <a:pt x="878782" y="56432"/>
                </a:lnTo>
                <a:lnTo>
                  <a:pt x="871850" y="58266"/>
                </a:lnTo>
                <a:lnTo>
                  <a:pt x="864834" y="59487"/>
                </a:lnTo>
                <a:lnTo>
                  <a:pt x="858342" y="59931"/>
                </a:lnTo>
                <a:lnTo>
                  <a:pt x="899871" y="59931"/>
                </a:lnTo>
                <a:lnTo>
                  <a:pt x="899871" y="47066"/>
                </a:lnTo>
                <a:close/>
              </a:path>
              <a:path w="1256665" h="92075">
                <a:moveTo>
                  <a:pt x="896313" y="30568"/>
                </a:moveTo>
                <a:lnTo>
                  <a:pt x="872591" y="30568"/>
                </a:lnTo>
                <a:lnTo>
                  <a:pt x="885024" y="31356"/>
                </a:lnTo>
                <a:lnTo>
                  <a:pt x="885024" y="41021"/>
                </a:lnTo>
                <a:lnTo>
                  <a:pt x="899248" y="41021"/>
                </a:lnTo>
                <a:lnTo>
                  <a:pt x="897554" y="32101"/>
                </a:lnTo>
                <a:lnTo>
                  <a:pt x="896313" y="30568"/>
                </a:lnTo>
                <a:close/>
              </a:path>
              <a:path w="1256665" h="92075">
                <a:moveTo>
                  <a:pt x="866381" y="18224"/>
                </a:moveTo>
                <a:lnTo>
                  <a:pt x="858482" y="18572"/>
                </a:lnTo>
                <a:lnTo>
                  <a:pt x="850692" y="19592"/>
                </a:lnTo>
                <a:lnTo>
                  <a:pt x="842951" y="21246"/>
                </a:lnTo>
                <a:lnTo>
                  <a:pt x="835202" y="23495"/>
                </a:lnTo>
                <a:lnTo>
                  <a:pt x="840473" y="34277"/>
                </a:lnTo>
                <a:lnTo>
                  <a:pt x="847882" y="32390"/>
                </a:lnTo>
                <a:lnTo>
                  <a:pt x="854502" y="31261"/>
                </a:lnTo>
                <a:lnTo>
                  <a:pt x="860409" y="30712"/>
                </a:lnTo>
                <a:lnTo>
                  <a:pt x="865682" y="30568"/>
                </a:lnTo>
                <a:lnTo>
                  <a:pt x="896313" y="30568"/>
                </a:lnTo>
                <a:lnTo>
                  <a:pt x="891027" y="24041"/>
                </a:lnTo>
                <a:lnTo>
                  <a:pt x="880549" y="19590"/>
                </a:lnTo>
                <a:lnTo>
                  <a:pt x="866381" y="18224"/>
                </a:lnTo>
                <a:close/>
              </a:path>
              <a:path w="1256665" h="92075">
                <a:moveTo>
                  <a:pt x="796963" y="31432"/>
                </a:moveTo>
                <a:lnTo>
                  <a:pt x="782116" y="31432"/>
                </a:lnTo>
                <a:lnTo>
                  <a:pt x="782116" y="54673"/>
                </a:lnTo>
                <a:lnTo>
                  <a:pt x="783645" y="61926"/>
                </a:lnTo>
                <a:lnTo>
                  <a:pt x="787992" y="66949"/>
                </a:lnTo>
                <a:lnTo>
                  <a:pt x="794798" y="69870"/>
                </a:lnTo>
                <a:lnTo>
                  <a:pt x="803706" y="70815"/>
                </a:lnTo>
                <a:lnTo>
                  <a:pt x="810526" y="70815"/>
                </a:lnTo>
                <a:lnTo>
                  <a:pt x="816140" y="70383"/>
                </a:lnTo>
                <a:lnTo>
                  <a:pt x="821054" y="69507"/>
                </a:lnTo>
                <a:lnTo>
                  <a:pt x="821054" y="58458"/>
                </a:lnTo>
                <a:lnTo>
                  <a:pt x="798868" y="58458"/>
                </a:lnTo>
                <a:lnTo>
                  <a:pt x="796963" y="55956"/>
                </a:lnTo>
                <a:lnTo>
                  <a:pt x="796963" y="31432"/>
                </a:lnTo>
                <a:close/>
              </a:path>
              <a:path w="1256665" h="92075">
                <a:moveTo>
                  <a:pt x="821054" y="57607"/>
                </a:moveTo>
                <a:lnTo>
                  <a:pt x="815098" y="58458"/>
                </a:lnTo>
                <a:lnTo>
                  <a:pt x="821054" y="58458"/>
                </a:lnTo>
                <a:lnTo>
                  <a:pt x="821054" y="57607"/>
                </a:lnTo>
                <a:close/>
              </a:path>
              <a:path w="1256665" h="92075">
                <a:moveTo>
                  <a:pt x="821054" y="19088"/>
                </a:moveTo>
                <a:lnTo>
                  <a:pt x="768730" y="19088"/>
                </a:lnTo>
                <a:lnTo>
                  <a:pt x="768730" y="31432"/>
                </a:lnTo>
                <a:lnTo>
                  <a:pt x="821054" y="31432"/>
                </a:lnTo>
                <a:lnTo>
                  <a:pt x="821054" y="19088"/>
                </a:lnTo>
                <a:close/>
              </a:path>
              <a:path w="1256665" h="92075">
                <a:moveTo>
                  <a:pt x="796963" y="4318"/>
                </a:moveTo>
                <a:lnTo>
                  <a:pt x="782116" y="8547"/>
                </a:lnTo>
                <a:lnTo>
                  <a:pt x="782116" y="19088"/>
                </a:lnTo>
                <a:lnTo>
                  <a:pt x="796963" y="19088"/>
                </a:lnTo>
                <a:lnTo>
                  <a:pt x="796963" y="4318"/>
                </a:lnTo>
                <a:close/>
              </a:path>
              <a:path w="1256665" h="92075">
                <a:moveTo>
                  <a:pt x="758456" y="19088"/>
                </a:moveTo>
                <a:lnTo>
                  <a:pt x="743699" y="19088"/>
                </a:lnTo>
                <a:lnTo>
                  <a:pt x="743699" y="69951"/>
                </a:lnTo>
                <a:lnTo>
                  <a:pt x="758456" y="69951"/>
                </a:lnTo>
                <a:lnTo>
                  <a:pt x="758456" y="19088"/>
                </a:lnTo>
                <a:close/>
              </a:path>
              <a:path w="1256665" h="92075">
                <a:moveTo>
                  <a:pt x="758456" y="863"/>
                </a:moveTo>
                <a:lnTo>
                  <a:pt x="743699" y="863"/>
                </a:lnTo>
                <a:lnTo>
                  <a:pt x="743699" y="13728"/>
                </a:lnTo>
                <a:lnTo>
                  <a:pt x="758456" y="13728"/>
                </a:lnTo>
                <a:lnTo>
                  <a:pt x="758456" y="863"/>
                </a:lnTo>
                <a:close/>
              </a:path>
              <a:path w="1256665" h="92075">
                <a:moveTo>
                  <a:pt x="666610" y="75565"/>
                </a:moveTo>
                <a:lnTo>
                  <a:pt x="666610" y="87477"/>
                </a:lnTo>
                <a:lnTo>
                  <a:pt x="671585" y="88657"/>
                </a:lnTo>
                <a:lnTo>
                  <a:pt x="678845" y="89989"/>
                </a:lnTo>
                <a:lnTo>
                  <a:pt x="687950" y="91078"/>
                </a:lnTo>
                <a:lnTo>
                  <a:pt x="698461" y="91528"/>
                </a:lnTo>
                <a:lnTo>
                  <a:pt x="711770" y="89802"/>
                </a:lnTo>
                <a:lnTo>
                  <a:pt x="722266" y="84448"/>
                </a:lnTo>
                <a:lnTo>
                  <a:pt x="726188" y="79184"/>
                </a:lnTo>
                <a:lnTo>
                  <a:pt x="695185" y="79184"/>
                </a:lnTo>
                <a:lnTo>
                  <a:pt x="686821" y="78776"/>
                </a:lnTo>
                <a:lnTo>
                  <a:pt x="678921" y="77793"/>
                </a:lnTo>
                <a:lnTo>
                  <a:pt x="672009" y="76602"/>
                </a:lnTo>
                <a:lnTo>
                  <a:pt x="666610" y="75565"/>
                </a:lnTo>
                <a:close/>
              </a:path>
              <a:path w="1256665" h="92075">
                <a:moveTo>
                  <a:pt x="731621" y="60274"/>
                </a:moveTo>
                <a:lnTo>
                  <a:pt x="716775" y="60274"/>
                </a:lnTo>
                <a:lnTo>
                  <a:pt x="715294" y="68731"/>
                </a:lnTo>
                <a:lnTo>
                  <a:pt x="711485" y="74620"/>
                </a:lnTo>
                <a:lnTo>
                  <a:pt x="704923" y="78063"/>
                </a:lnTo>
                <a:lnTo>
                  <a:pt x="695185" y="79184"/>
                </a:lnTo>
                <a:lnTo>
                  <a:pt x="726188" y="79184"/>
                </a:lnTo>
                <a:lnTo>
                  <a:pt x="729149" y="75209"/>
                </a:lnTo>
                <a:lnTo>
                  <a:pt x="731621" y="61823"/>
                </a:lnTo>
                <a:lnTo>
                  <a:pt x="731621" y="60274"/>
                </a:lnTo>
                <a:close/>
              </a:path>
              <a:path w="1256665" h="92075">
                <a:moveTo>
                  <a:pt x="691045" y="18224"/>
                </a:moveTo>
                <a:lnTo>
                  <a:pt x="679021" y="19691"/>
                </a:lnTo>
                <a:lnTo>
                  <a:pt x="669570" y="24268"/>
                </a:lnTo>
                <a:lnTo>
                  <a:pt x="663389" y="32213"/>
                </a:lnTo>
                <a:lnTo>
                  <a:pt x="661174" y="43789"/>
                </a:lnTo>
                <a:lnTo>
                  <a:pt x="663389" y="55352"/>
                </a:lnTo>
                <a:lnTo>
                  <a:pt x="669570" y="63295"/>
                </a:lnTo>
                <a:lnTo>
                  <a:pt x="679021" y="67872"/>
                </a:lnTo>
                <a:lnTo>
                  <a:pt x="691045" y="69342"/>
                </a:lnTo>
                <a:lnTo>
                  <a:pt x="699399" y="68727"/>
                </a:lnTo>
                <a:lnTo>
                  <a:pt x="706467" y="66946"/>
                </a:lnTo>
                <a:lnTo>
                  <a:pt x="712256" y="64096"/>
                </a:lnTo>
                <a:lnTo>
                  <a:pt x="716775" y="60274"/>
                </a:lnTo>
                <a:lnTo>
                  <a:pt x="731621" y="60274"/>
                </a:lnTo>
                <a:lnTo>
                  <a:pt x="731621" y="56997"/>
                </a:lnTo>
                <a:lnTo>
                  <a:pt x="682497" y="56997"/>
                </a:lnTo>
                <a:lnTo>
                  <a:pt x="675932" y="53111"/>
                </a:lnTo>
                <a:lnTo>
                  <a:pt x="675932" y="34467"/>
                </a:lnTo>
                <a:lnTo>
                  <a:pt x="682497" y="30568"/>
                </a:lnTo>
                <a:lnTo>
                  <a:pt x="731621" y="30568"/>
                </a:lnTo>
                <a:lnTo>
                  <a:pt x="731621" y="27292"/>
                </a:lnTo>
                <a:lnTo>
                  <a:pt x="716775" y="27292"/>
                </a:lnTo>
                <a:lnTo>
                  <a:pt x="712306" y="23475"/>
                </a:lnTo>
                <a:lnTo>
                  <a:pt x="706534" y="20624"/>
                </a:lnTo>
                <a:lnTo>
                  <a:pt x="699449" y="18841"/>
                </a:lnTo>
                <a:lnTo>
                  <a:pt x="691045" y="18224"/>
                </a:lnTo>
                <a:close/>
              </a:path>
              <a:path w="1256665" h="92075">
                <a:moveTo>
                  <a:pt x="731621" y="30568"/>
                </a:moveTo>
                <a:lnTo>
                  <a:pt x="710298" y="30568"/>
                </a:lnTo>
                <a:lnTo>
                  <a:pt x="716775" y="34467"/>
                </a:lnTo>
                <a:lnTo>
                  <a:pt x="716775" y="53111"/>
                </a:lnTo>
                <a:lnTo>
                  <a:pt x="710298" y="56997"/>
                </a:lnTo>
                <a:lnTo>
                  <a:pt x="731621" y="56997"/>
                </a:lnTo>
                <a:lnTo>
                  <a:pt x="731621" y="30568"/>
                </a:lnTo>
                <a:close/>
              </a:path>
              <a:path w="1256665" h="92075">
                <a:moveTo>
                  <a:pt x="731621" y="19088"/>
                </a:moveTo>
                <a:lnTo>
                  <a:pt x="716775" y="19088"/>
                </a:lnTo>
                <a:lnTo>
                  <a:pt x="716775" y="27292"/>
                </a:lnTo>
                <a:lnTo>
                  <a:pt x="731621" y="27292"/>
                </a:lnTo>
                <a:lnTo>
                  <a:pt x="731621" y="19088"/>
                </a:lnTo>
                <a:close/>
              </a:path>
              <a:path w="1256665" h="92075">
                <a:moveTo>
                  <a:pt x="650379" y="19088"/>
                </a:moveTo>
                <a:lnTo>
                  <a:pt x="635609" y="19088"/>
                </a:lnTo>
                <a:lnTo>
                  <a:pt x="635609" y="69951"/>
                </a:lnTo>
                <a:lnTo>
                  <a:pt x="650379" y="69951"/>
                </a:lnTo>
                <a:lnTo>
                  <a:pt x="650379" y="19088"/>
                </a:lnTo>
                <a:close/>
              </a:path>
              <a:path w="1256665" h="92075">
                <a:moveTo>
                  <a:pt x="650379" y="863"/>
                </a:moveTo>
                <a:lnTo>
                  <a:pt x="635609" y="863"/>
                </a:lnTo>
                <a:lnTo>
                  <a:pt x="635609" y="13728"/>
                </a:lnTo>
                <a:lnTo>
                  <a:pt x="650379" y="13728"/>
                </a:lnTo>
                <a:lnTo>
                  <a:pt x="650379" y="863"/>
                </a:lnTo>
                <a:close/>
              </a:path>
              <a:path w="1256665" h="92075">
                <a:moveTo>
                  <a:pt x="583387" y="18224"/>
                </a:moveTo>
                <a:lnTo>
                  <a:pt x="571773" y="19607"/>
                </a:lnTo>
                <a:lnTo>
                  <a:pt x="562121" y="24107"/>
                </a:lnTo>
                <a:lnTo>
                  <a:pt x="555526" y="32251"/>
                </a:lnTo>
                <a:lnTo>
                  <a:pt x="553084" y="44564"/>
                </a:lnTo>
                <a:lnTo>
                  <a:pt x="555526" y="56863"/>
                </a:lnTo>
                <a:lnTo>
                  <a:pt x="562121" y="64976"/>
                </a:lnTo>
                <a:lnTo>
                  <a:pt x="571773" y="69445"/>
                </a:lnTo>
                <a:lnTo>
                  <a:pt x="583387" y="70815"/>
                </a:lnTo>
                <a:lnTo>
                  <a:pt x="591206" y="70252"/>
                </a:lnTo>
                <a:lnTo>
                  <a:pt x="598125" y="68580"/>
                </a:lnTo>
                <a:lnTo>
                  <a:pt x="604025" y="65821"/>
                </a:lnTo>
                <a:lnTo>
                  <a:pt x="608787" y="62001"/>
                </a:lnTo>
                <a:lnTo>
                  <a:pt x="623544" y="62001"/>
                </a:lnTo>
                <a:lnTo>
                  <a:pt x="623544" y="58458"/>
                </a:lnTo>
                <a:lnTo>
                  <a:pt x="575106" y="58458"/>
                </a:lnTo>
                <a:lnTo>
                  <a:pt x="567943" y="54571"/>
                </a:lnTo>
                <a:lnTo>
                  <a:pt x="567943" y="34467"/>
                </a:lnTo>
                <a:lnTo>
                  <a:pt x="575106" y="30568"/>
                </a:lnTo>
                <a:lnTo>
                  <a:pt x="623544" y="30568"/>
                </a:lnTo>
                <a:lnTo>
                  <a:pt x="623544" y="27025"/>
                </a:lnTo>
                <a:lnTo>
                  <a:pt x="608787" y="27025"/>
                </a:lnTo>
                <a:lnTo>
                  <a:pt x="604025" y="23212"/>
                </a:lnTo>
                <a:lnTo>
                  <a:pt x="598125" y="20458"/>
                </a:lnTo>
                <a:lnTo>
                  <a:pt x="591206" y="18787"/>
                </a:lnTo>
                <a:lnTo>
                  <a:pt x="583387" y="18224"/>
                </a:lnTo>
                <a:close/>
              </a:path>
              <a:path w="1256665" h="92075">
                <a:moveTo>
                  <a:pt x="623544" y="62001"/>
                </a:moveTo>
                <a:lnTo>
                  <a:pt x="608787" y="62001"/>
                </a:lnTo>
                <a:lnTo>
                  <a:pt x="608787" y="69951"/>
                </a:lnTo>
                <a:lnTo>
                  <a:pt x="623544" y="69951"/>
                </a:lnTo>
                <a:lnTo>
                  <a:pt x="623544" y="62001"/>
                </a:lnTo>
                <a:close/>
              </a:path>
              <a:path w="1256665" h="92075">
                <a:moveTo>
                  <a:pt x="623544" y="30568"/>
                </a:moveTo>
                <a:lnTo>
                  <a:pt x="601522" y="30568"/>
                </a:lnTo>
                <a:lnTo>
                  <a:pt x="608787" y="34467"/>
                </a:lnTo>
                <a:lnTo>
                  <a:pt x="608787" y="54571"/>
                </a:lnTo>
                <a:lnTo>
                  <a:pt x="601522" y="58458"/>
                </a:lnTo>
                <a:lnTo>
                  <a:pt x="623544" y="58458"/>
                </a:lnTo>
                <a:lnTo>
                  <a:pt x="623544" y="30568"/>
                </a:lnTo>
                <a:close/>
              </a:path>
              <a:path w="1256665" h="92075">
                <a:moveTo>
                  <a:pt x="623544" y="863"/>
                </a:moveTo>
                <a:lnTo>
                  <a:pt x="608787" y="863"/>
                </a:lnTo>
                <a:lnTo>
                  <a:pt x="608787" y="27025"/>
                </a:lnTo>
                <a:lnTo>
                  <a:pt x="623544" y="27025"/>
                </a:lnTo>
                <a:lnTo>
                  <a:pt x="623544" y="863"/>
                </a:lnTo>
                <a:close/>
              </a:path>
              <a:path w="1256665" h="92075">
                <a:moveTo>
                  <a:pt x="462800" y="18224"/>
                </a:moveTo>
                <a:lnTo>
                  <a:pt x="448589" y="19704"/>
                </a:lnTo>
                <a:lnTo>
                  <a:pt x="437446" y="24364"/>
                </a:lnTo>
                <a:lnTo>
                  <a:pt x="430173" y="32540"/>
                </a:lnTo>
                <a:lnTo>
                  <a:pt x="427570" y="44564"/>
                </a:lnTo>
                <a:lnTo>
                  <a:pt x="430220" y="56531"/>
                </a:lnTo>
                <a:lnTo>
                  <a:pt x="437500" y="64681"/>
                </a:lnTo>
                <a:lnTo>
                  <a:pt x="448407" y="69335"/>
                </a:lnTo>
                <a:lnTo>
                  <a:pt x="461937" y="70815"/>
                </a:lnTo>
                <a:lnTo>
                  <a:pt x="474841" y="69652"/>
                </a:lnTo>
                <a:lnTo>
                  <a:pt x="485132" y="66124"/>
                </a:lnTo>
                <a:lnTo>
                  <a:pt x="492524" y="60169"/>
                </a:lnTo>
                <a:lnTo>
                  <a:pt x="493200" y="58813"/>
                </a:lnTo>
                <a:lnTo>
                  <a:pt x="452094" y="58813"/>
                </a:lnTo>
                <a:lnTo>
                  <a:pt x="444322" y="56134"/>
                </a:lnTo>
                <a:lnTo>
                  <a:pt x="442683" y="48006"/>
                </a:lnTo>
                <a:lnTo>
                  <a:pt x="497585" y="48006"/>
                </a:lnTo>
                <a:lnTo>
                  <a:pt x="495815" y="38608"/>
                </a:lnTo>
                <a:lnTo>
                  <a:pt x="443191" y="38608"/>
                </a:lnTo>
                <a:lnTo>
                  <a:pt x="445528" y="31432"/>
                </a:lnTo>
                <a:lnTo>
                  <a:pt x="452615" y="29451"/>
                </a:lnTo>
                <a:lnTo>
                  <a:pt x="491513" y="29451"/>
                </a:lnTo>
                <a:lnTo>
                  <a:pt x="487446" y="24437"/>
                </a:lnTo>
                <a:lnTo>
                  <a:pt x="476395" y="19623"/>
                </a:lnTo>
                <a:lnTo>
                  <a:pt x="462800" y="18224"/>
                </a:lnTo>
                <a:close/>
              </a:path>
              <a:path w="1256665" h="92075">
                <a:moveTo>
                  <a:pt x="496735" y="51727"/>
                </a:moveTo>
                <a:lnTo>
                  <a:pt x="482053" y="51727"/>
                </a:lnTo>
                <a:lnTo>
                  <a:pt x="478345" y="56908"/>
                </a:lnTo>
                <a:lnTo>
                  <a:pt x="472122" y="58813"/>
                </a:lnTo>
                <a:lnTo>
                  <a:pt x="493200" y="58813"/>
                </a:lnTo>
                <a:lnTo>
                  <a:pt x="496735" y="51727"/>
                </a:lnTo>
                <a:close/>
              </a:path>
              <a:path w="1256665" h="92075">
                <a:moveTo>
                  <a:pt x="491513" y="29451"/>
                </a:moveTo>
                <a:lnTo>
                  <a:pt x="472046" y="29451"/>
                </a:lnTo>
                <a:lnTo>
                  <a:pt x="479297" y="31432"/>
                </a:lnTo>
                <a:lnTo>
                  <a:pt x="481787" y="38608"/>
                </a:lnTo>
                <a:lnTo>
                  <a:pt x="495815" y="38608"/>
                </a:lnTo>
                <a:lnTo>
                  <a:pt x="494870" y="33590"/>
                </a:lnTo>
                <a:lnTo>
                  <a:pt x="491513" y="29451"/>
                </a:lnTo>
                <a:close/>
              </a:path>
              <a:path w="1256665" h="92075">
                <a:moveTo>
                  <a:pt x="368858" y="19088"/>
                </a:moveTo>
                <a:lnTo>
                  <a:pt x="352463" y="19088"/>
                </a:lnTo>
                <a:lnTo>
                  <a:pt x="378193" y="69951"/>
                </a:lnTo>
                <a:lnTo>
                  <a:pt x="399262" y="69951"/>
                </a:lnTo>
                <a:lnTo>
                  <a:pt x="404565" y="59499"/>
                </a:lnTo>
                <a:lnTo>
                  <a:pt x="388810" y="59499"/>
                </a:lnTo>
                <a:lnTo>
                  <a:pt x="368858" y="19088"/>
                </a:lnTo>
                <a:close/>
              </a:path>
              <a:path w="1256665" h="92075">
                <a:moveTo>
                  <a:pt x="425068" y="19088"/>
                </a:moveTo>
                <a:lnTo>
                  <a:pt x="408673" y="19088"/>
                </a:lnTo>
                <a:lnTo>
                  <a:pt x="388810" y="59499"/>
                </a:lnTo>
                <a:lnTo>
                  <a:pt x="404565" y="59499"/>
                </a:lnTo>
                <a:lnTo>
                  <a:pt x="425068" y="19088"/>
                </a:lnTo>
                <a:close/>
              </a:path>
              <a:path w="1256665" h="92075">
                <a:moveTo>
                  <a:pt x="343052" y="19088"/>
                </a:moveTo>
                <a:lnTo>
                  <a:pt x="328282" y="19088"/>
                </a:lnTo>
                <a:lnTo>
                  <a:pt x="328282" y="69951"/>
                </a:lnTo>
                <a:lnTo>
                  <a:pt x="343052" y="69951"/>
                </a:lnTo>
                <a:lnTo>
                  <a:pt x="343052" y="19088"/>
                </a:lnTo>
                <a:close/>
              </a:path>
              <a:path w="1256665" h="92075">
                <a:moveTo>
                  <a:pt x="343052" y="863"/>
                </a:moveTo>
                <a:lnTo>
                  <a:pt x="328282" y="863"/>
                </a:lnTo>
                <a:lnTo>
                  <a:pt x="328282" y="13728"/>
                </a:lnTo>
                <a:lnTo>
                  <a:pt x="343052" y="13728"/>
                </a:lnTo>
                <a:lnTo>
                  <a:pt x="343052" y="863"/>
                </a:lnTo>
                <a:close/>
              </a:path>
              <a:path w="1256665" h="92075">
                <a:moveTo>
                  <a:pt x="293001" y="31432"/>
                </a:moveTo>
                <a:lnTo>
                  <a:pt x="278142" y="31432"/>
                </a:lnTo>
                <a:lnTo>
                  <a:pt x="278142" y="54673"/>
                </a:lnTo>
                <a:lnTo>
                  <a:pt x="279669" y="61926"/>
                </a:lnTo>
                <a:lnTo>
                  <a:pt x="284013" y="66949"/>
                </a:lnTo>
                <a:lnTo>
                  <a:pt x="290819" y="69870"/>
                </a:lnTo>
                <a:lnTo>
                  <a:pt x="299732" y="70815"/>
                </a:lnTo>
                <a:lnTo>
                  <a:pt x="306552" y="70815"/>
                </a:lnTo>
                <a:lnTo>
                  <a:pt x="312165" y="70383"/>
                </a:lnTo>
                <a:lnTo>
                  <a:pt x="317093" y="69507"/>
                </a:lnTo>
                <a:lnTo>
                  <a:pt x="317093" y="58458"/>
                </a:lnTo>
                <a:lnTo>
                  <a:pt x="294906" y="58458"/>
                </a:lnTo>
                <a:lnTo>
                  <a:pt x="293001" y="55956"/>
                </a:lnTo>
                <a:lnTo>
                  <a:pt x="293001" y="31432"/>
                </a:lnTo>
                <a:close/>
              </a:path>
              <a:path w="1256665" h="92075">
                <a:moveTo>
                  <a:pt x="317093" y="57607"/>
                </a:moveTo>
                <a:lnTo>
                  <a:pt x="311124" y="58458"/>
                </a:lnTo>
                <a:lnTo>
                  <a:pt x="317093" y="58458"/>
                </a:lnTo>
                <a:lnTo>
                  <a:pt x="317093" y="57607"/>
                </a:lnTo>
                <a:close/>
              </a:path>
              <a:path w="1256665" h="92075">
                <a:moveTo>
                  <a:pt x="317093" y="19088"/>
                </a:moveTo>
                <a:lnTo>
                  <a:pt x="264756" y="19088"/>
                </a:lnTo>
                <a:lnTo>
                  <a:pt x="264756" y="31432"/>
                </a:lnTo>
                <a:lnTo>
                  <a:pt x="317093" y="31432"/>
                </a:lnTo>
                <a:lnTo>
                  <a:pt x="317093" y="19088"/>
                </a:lnTo>
                <a:close/>
              </a:path>
              <a:path w="1256665" h="92075">
                <a:moveTo>
                  <a:pt x="293001" y="4318"/>
                </a:moveTo>
                <a:lnTo>
                  <a:pt x="278142" y="8547"/>
                </a:lnTo>
                <a:lnTo>
                  <a:pt x="278142" y="19088"/>
                </a:lnTo>
                <a:lnTo>
                  <a:pt x="293001" y="19088"/>
                </a:lnTo>
                <a:lnTo>
                  <a:pt x="293001" y="4318"/>
                </a:lnTo>
                <a:close/>
              </a:path>
              <a:path w="1256665" h="92075">
                <a:moveTo>
                  <a:pt x="254495" y="19088"/>
                </a:moveTo>
                <a:lnTo>
                  <a:pt x="239725" y="19088"/>
                </a:lnTo>
                <a:lnTo>
                  <a:pt x="239725" y="69951"/>
                </a:lnTo>
                <a:lnTo>
                  <a:pt x="254495" y="69951"/>
                </a:lnTo>
                <a:lnTo>
                  <a:pt x="254495" y="19088"/>
                </a:lnTo>
                <a:close/>
              </a:path>
              <a:path w="1256665" h="92075">
                <a:moveTo>
                  <a:pt x="254495" y="863"/>
                </a:moveTo>
                <a:lnTo>
                  <a:pt x="239725" y="863"/>
                </a:lnTo>
                <a:lnTo>
                  <a:pt x="239725" y="13728"/>
                </a:lnTo>
                <a:lnTo>
                  <a:pt x="254495" y="13728"/>
                </a:lnTo>
                <a:lnTo>
                  <a:pt x="254495" y="863"/>
                </a:lnTo>
                <a:close/>
              </a:path>
              <a:path w="1256665" h="92075">
                <a:moveTo>
                  <a:pt x="173431" y="52070"/>
                </a:moveTo>
                <a:lnTo>
                  <a:pt x="158661" y="52070"/>
                </a:lnTo>
                <a:lnTo>
                  <a:pt x="161801" y="61846"/>
                </a:lnTo>
                <a:lnTo>
                  <a:pt x="170179" y="67529"/>
                </a:lnTo>
                <a:lnTo>
                  <a:pt x="182235" y="70168"/>
                </a:lnTo>
                <a:lnTo>
                  <a:pt x="196405" y="70815"/>
                </a:lnTo>
                <a:lnTo>
                  <a:pt x="209756" y="70198"/>
                </a:lnTo>
                <a:lnTo>
                  <a:pt x="220022" y="67767"/>
                </a:lnTo>
                <a:lnTo>
                  <a:pt x="226614" y="62649"/>
                </a:lnTo>
                <a:lnTo>
                  <a:pt x="227436" y="59588"/>
                </a:lnTo>
                <a:lnTo>
                  <a:pt x="179044" y="59588"/>
                </a:lnTo>
                <a:lnTo>
                  <a:pt x="173431" y="57518"/>
                </a:lnTo>
                <a:lnTo>
                  <a:pt x="173431" y="52070"/>
                </a:lnTo>
                <a:close/>
              </a:path>
              <a:path w="1256665" h="92075">
                <a:moveTo>
                  <a:pt x="194144" y="18224"/>
                </a:moveTo>
                <a:lnTo>
                  <a:pt x="181188" y="18835"/>
                </a:lnTo>
                <a:lnTo>
                  <a:pt x="170514" y="21142"/>
                </a:lnTo>
                <a:lnTo>
                  <a:pt x="163189" y="25950"/>
                </a:lnTo>
                <a:lnTo>
                  <a:pt x="160477" y="34023"/>
                </a:lnTo>
                <a:lnTo>
                  <a:pt x="162540" y="41404"/>
                </a:lnTo>
                <a:lnTo>
                  <a:pt x="168757" y="45778"/>
                </a:lnTo>
                <a:lnTo>
                  <a:pt x="179165" y="48098"/>
                </a:lnTo>
                <a:lnTo>
                  <a:pt x="193801" y="49314"/>
                </a:lnTo>
                <a:lnTo>
                  <a:pt x="211683" y="50431"/>
                </a:lnTo>
                <a:lnTo>
                  <a:pt x="214109" y="50685"/>
                </a:lnTo>
                <a:lnTo>
                  <a:pt x="214109" y="58547"/>
                </a:lnTo>
                <a:lnTo>
                  <a:pt x="211505" y="59588"/>
                </a:lnTo>
                <a:lnTo>
                  <a:pt x="227436" y="59588"/>
                </a:lnTo>
                <a:lnTo>
                  <a:pt x="195529" y="38430"/>
                </a:lnTo>
                <a:lnTo>
                  <a:pt x="178003" y="37134"/>
                </a:lnTo>
                <a:lnTo>
                  <a:pt x="175323" y="36614"/>
                </a:lnTo>
                <a:lnTo>
                  <a:pt x="175323" y="30492"/>
                </a:lnTo>
                <a:lnTo>
                  <a:pt x="179298" y="29451"/>
                </a:lnTo>
                <a:lnTo>
                  <a:pt x="225691" y="29451"/>
                </a:lnTo>
                <a:lnTo>
                  <a:pt x="224755" y="26245"/>
                </a:lnTo>
                <a:lnTo>
                  <a:pt x="217878" y="21229"/>
                </a:lnTo>
                <a:lnTo>
                  <a:pt x="207404" y="18835"/>
                </a:lnTo>
                <a:lnTo>
                  <a:pt x="194144" y="18224"/>
                </a:lnTo>
                <a:close/>
              </a:path>
              <a:path w="1256665" h="92075">
                <a:moveTo>
                  <a:pt x="225691" y="29451"/>
                </a:moveTo>
                <a:lnTo>
                  <a:pt x="207022" y="29451"/>
                </a:lnTo>
                <a:lnTo>
                  <a:pt x="212382" y="30492"/>
                </a:lnTo>
                <a:lnTo>
                  <a:pt x="212382" y="34721"/>
                </a:lnTo>
                <a:lnTo>
                  <a:pt x="227228" y="34721"/>
                </a:lnTo>
                <a:lnTo>
                  <a:pt x="225691" y="29451"/>
                </a:lnTo>
                <a:close/>
              </a:path>
              <a:path w="1256665" h="92075">
                <a:moveTo>
                  <a:pt x="114909" y="18224"/>
                </a:moveTo>
                <a:lnTo>
                  <a:pt x="100516" y="19704"/>
                </a:lnTo>
                <a:lnTo>
                  <a:pt x="89393" y="24364"/>
                </a:lnTo>
                <a:lnTo>
                  <a:pt x="82221" y="32540"/>
                </a:lnTo>
                <a:lnTo>
                  <a:pt x="79679" y="44564"/>
                </a:lnTo>
                <a:lnTo>
                  <a:pt x="82221" y="56531"/>
                </a:lnTo>
                <a:lnTo>
                  <a:pt x="89393" y="64681"/>
                </a:lnTo>
                <a:lnTo>
                  <a:pt x="100516" y="69335"/>
                </a:lnTo>
                <a:lnTo>
                  <a:pt x="114909" y="70815"/>
                </a:lnTo>
                <a:lnTo>
                  <a:pt x="129265" y="69335"/>
                </a:lnTo>
                <a:lnTo>
                  <a:pt x="140392" y="64681"/>
                </a:lnTo>
                <a:lnTo>
                  <a:pt x="145884" y="58458"/>
                </a:lnTo>
                <a:lnTo>
                  <a:pt x="101180" y="58458"/>
                </a:lnTo>
                <a:lnTo>
                  <a:pt x="94437" y="55092"/>
                </a:lnTo>
                <a:lnTo>
                  <a:pt x="94437" y="33934"/>
                </a:lnTo>
                <a:lnTo>
                  <a:pt x="101180" y="30568"/>
                </a:lnTo>
                <a:lnTo>
                  <a:pt x="145850" y="30568"/>
                </a:lnTo>
                <a:lnTo>
                  <a:pt x="140392" y="24364"/>
                </a:lnTo>
                <a:lnTo>
                  <a:pt x="129265" y="19704"/>
                </a:lnTo>
                <a:lnTo>
                  <a:pt x="114909" y="18224"/>
                </a:lnTo>
                <a:close/>
              </a:path>
              <a:path w="1256665" h="92075">
                <a:moveTo>
                  <a:pt x="145850" y="30568"/>
                </a:moveTo>
                <a:lnTo>
                  <a:pt x="128536" y="30568"/>
                </a:lnTo>
                <a:lnTo>
                  <a:pt x="135280" y="33934"/>
                </a:lnTo>
                <a:lnTo>
                  <a:pt x="135280" y="55092"/>
                </a:lnTo>
                <a:lnTo>
                  <a:pt x="128536" y="58458"/>
                </a:lnTo>
                <a:lnTo>
                  <a:pt x="145884" y="58458"/>
                </a:lnTo>
                <a:lnTo>
                  <a:pt x="147585" y="56531"/>
                </a:lnTo>
                <a:lnTo>
                  <a:pt x="150139" y="44564"/>
                </a:lnTo>
                <a:lnTo>
                  <a:pt x="147585" y="32540"/>
                </a:lnTo>
                <a:lnTo>
                  <a:pt x="145850" y="30568"/>
                </a:lnTo>
                <a:close/>
              </a:path>
              <a:path w="1256665" h="92075">
                <a:moveTo>
                  <a:pt x="47497" y="9512"/>
                </a:moveTo>
                <a:lnTo>
                  <a:pt x="0" y="9512"/>
                </a:lnTo>
                <a:lnTo>
                  <a:pt x="0" y="69951"/>
                </a:lnTo>
                <a:lnTo>
                  <a:pt x="15544" y="69951"/>
                </a:lnTo>
                <a:lnTo>
                  <a:pt x="15544" y="53809"/>
                </a:lnTo>
                <a:lnTo>
                  <a:pt x="47497" y="53809"/>
                </a:lnTo>
                <a:lnTo>
                  <a:pt x="56905" y="52248"/>
                </a:lnTo>
                <a:lnTo>
                  <a:pt x="64215" y="47802"/>
                </a:lnTo>
                <a:lnTo>
                  <a:pt x="68952" y="40833"/>
                </a:lnTo>
                <a:lnTo>
                  <a:pt x="15544" y="40754"/>
                </a:lnTo>
                <a:lnTo>
                  <a:pt x="15544" y="22542"/>
                </a:lnTo>
                <a:lnTo>
                  <a:pt x="68948" y="22542"/>
                </a:lnTo>
                <a:lnTo>
                  <a:pt x="64215" y="15552"/>
                </a:lnTo>
                <a:lnTo>
                  <a:pt x="56905" y="11084"/>
                </a:lnTo>
                <a:lnTo>
                  <a:pt x="47497" y="9512"/>
                </a:lnTo>
                <a:close/>
              </a:path>
              <a:path w="1256665" h="92075">
                <a:moveTo>
                  <a:pt x="68948" y="22542"/>
                </a:moveTo>
                <a:lnTo>
                  <a:pt x="55092" y="22542"/>
                </a:lnTo>
                <a:lnTo>
                  <a:pt x="55092" y="40754"/>
                </a:lnTo>
                <a:lnTo>
                  <a:pt x="68967" y="40754"/>
                </a:lnTo>
                <a:lnTo>
                  <a:pt x="70637" y="31699"/>
                </a:lnTo>
                <a:lnTo>
                  <a:pt x="68948" y="22542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51A90F7-4173-4539-90AE-F4A8B177F34B}"/>
              </a:ext>
            </a:extLst>
          </p:cNvPr>
          <p:cNvSpPr/>
          <p:nvPr userDrawn="1"/>
        </p:nvSpPr>
        <p:spPr>
          <a:xfrm>
            <a:off x="7119938" y="2743200"/>
            <a:ext cx="2228850" cy="3429000"/>
          </a:xfrm>
          <a:custGeom>
            <a:avLst/>
            <a:gdLst/>
            <a:ahLst/>
            <a:cxnLst/>
            <a:rect l="l" t="t" r="r" b="b"/>
            <a:pathLst>
              <a:path w="3657600" h="4572000">
                <a:moveTo>
                  <a:pt x="3657600" y="0"/>
                </a:moveTo>
                <a:lnTo>
                  <a:pt x="0" y="0"/>
                </a:lnTo>
                <a:lnTo>
                  <a:pt x="0" y="4572000"/>
                </a:lnTo>
                <a:lnTo>
                  <a:pt x="3657600" y="4572000"/>
                </a:lnTo>
                <a:lnTo>
                  <a:pt x="36576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2" name="object 13">
            <a:extLst>
              <a:ext uri="{FF2B5EF4-FFF2-40B4-BE49-F238E27FC236}">
                <a16:creationId xmlns:a16="http://schemas.microsoft.com/office/drawing/2014/main" id="{AEDC5B23-1647-49B1-8689-60FD3A78D068}"/>
              </a:ext>
            </a:extLst>
          </p:cNvPr>
          <p:cNvSpPr/>
          <p:nvPr/>
        </p:nvSpPr>
        <p:spPr>
          <a:xfrm>
            <a:off x="0" y="0"/>
            <a:ext cx="3219450" cy="6858000"/>
          </a:xfrm>
          <a:custGeom>
            <a:avLst/>
            <a:gdLst/>
            <a:ahLst/>
            <a:cxnLst/>
            <a:rect l="l" t="t" r="r" b="b"/>
            <a:pathLst>
              <a:path w="5283200" h="9144000">
                <a:moveTo>
                  <a:pt x="5283200" y="0"/>
                </a:moveTo>
                <a:lnTo>
                  <a:pt x="0" y="0"/>
                </a:lnTo>
                <a:lnTo>
                  <a:pt x="0" y="9144000"/>
                </a:lnTo>
                <a:lnTo>
                  <a:pt x="5283200" y="9144000"/>
                </a:lnTo>
                <a:lnTo>
                  <a:pt x="528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B878D6D7-A21E-4916-A1DB-9ADACBC53B10}"/>
              </a:ext>
            </a:extLst>
          </p:cNvPr>
          <p:cNvSpPr/>
          <p:nvPr userDrawn="1"/>
        </p:nvSpPr>
        <p:spPr>
          <a:xfrm>
            <a:off x="6562725" y="1371599"/>
            <a:ext cx="1671638" cy="4800600"/>
          </a:xfrm>
          <a:custGeom>
            <a:avLst/>
            <a:gdLst/>
            <a:ahLst/>
            <a:cxnLst/>
            <a:rect l="l" t="t" r="r" b="b"/>
            <a:pathLst>
              <a:path w="2743200" h="6400800">
                <a:moveTo>
                  <a:pt x="914400" y="5486400"/>
                </a:moveTo>
                <a:lnTo>
                  <a:pt x="0" y="5486400"/>
                </a:lnTo>
                <a:lnTo>
                  <a:pt x="0" y="6400800"/>
                </a:lnTo>
                <a:lnTo>
                  <a:pt x="914400" y="6400800"/>
                </a:lnTo>
                <a:lnTo>
                  <a:pt x="914400" y="5486400"/>
                </a:lnTo>
                <a:close/>
              </a:path>
              <a:path w="2743200" h="6400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2743200" h="6400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CF9F1995-3828-492B-8E00-DABB95B1CE1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2" y="5486400"/>
            <a:ext cx="1547813" cy="685799"/>
          </a:xfrm>
          <a:noFill/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E3D4C3-7FF7-4C2C-AC1C-58D153EBB7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9473" y="1029173"/>
            <a:ext cx="2102316" cy="2114550"/>
          </a:xfrm>
        </p:spPr>
        <p:txBody>
          <a:bodyPr/>
          <a:lstStyle/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4CC0C3C-8E8C-4602-B27C-EAA9C3EB84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5736" y="1029173"/>
            <a:ext cx="2505908" cy="211455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D69663-3C24-47D3-AADB-4E2655570CE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52598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7841DCF2-2B94-45F3-94F5-118FE191F0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7213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7" name="Text Placeholder 18">
            <a:extLst>
              <a:ext uri="{FF2B5EF4-FFF2-40B4-BE49-F238E27FC236}">
                <a16:creationId xmlns:a16="http://schemas.microsoft.com/office/drawing/2014/main" id="{9675BD83-58FE-4C71-B90D-479A1D8BFE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8680" y="33289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 err="1"/>
              <a:t>email@inetum.world</a:t>
            </a:r>
            <a:endParaRPr lang="en-US" dirty="0"/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570C0C40-76FE-48E0-A40C-7FA39A6116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3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380F4B4-DFB8-45BA-BF39-FD12DC17938D}"/>
              </a:ext>
            </a:extLst>
          </p:cNvPr>
          <p:cNvSpPr/>
          <p:nvPr userDrawn="1"/>
        </p:nvSpPr>
        <p:spPr>
          <a:xfrm>
            <a:off x="0" y="5143500"/>
            <a:ext cx="9906000" cy="1714500"/>
          </a:xfrm>
          <a:custGeom>
            <a:avLst/>
            <a:gdLst>
              <a:gd name="connsiteX0" fmla="*/ 0 w 16256000"/>
              <a:gd name="connsiteY0" fmla="*/ 0 h 2286000"/>
              <a:gd name="connsiteX1" fmla="*/ 16256000 w 16256000"/>
              <a:gd name="connsiteY1" fmla="*/ 0 h 2286000"/>
              <a:gd name="connsiteX2" fmla="*/ 16256000 w 16256000"/>
              <a:gd name="connsiteY2" fmla="*/ 1371600 h 2286000"/>
              <a:gd name="connsiteX3" fmla="*/ 15341600 w 16256000"/>
              <a:gd name="connsiteY3" fmla="*/ 1371600 h 2286000"/>
              <a:gd name="connsiteX4" fmla="*/ 15341600 w 16256000"/>
              <a:gd name="connsiteY4" fmla="*/ 2286000 h 2286000"/>
              <a:gd name="connsiteX5" fmla="*/ 0 w 16256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56000" h="2286000">
                <a:moveTo>
                  <a:pt x="0" y="0"/>
                </a:moveTo>
                <a:lnTo>
                  <a:pt x="16256000" y="0"/>
                </a:lnTo>
                <a:lnTo>
                  <a:pt x="16256000" y="1371600"/>
                </a:lnTo>
                <a:lnTo>
                  <a:pt x="15341600" y="1371600"/>
                </a:lnTo>
                <a:lnTo>
                  <a:pt x="15341600" y="2286000"/>
                </a:lnTo>
                <a:lnTo>
                  <a:pt x="0" y="2286000"/>
                </a:lnTo>
                <a:close/>
              </a:path>
            </a:pathLst>
          </a:custGeom>
          <a:solidFill>
            <a:srgbClr val="222C4A"/>
          </a:solidFill>
        </p:spPr>
        <p:txBody>
          <a:bodyPr wrap="square" lIns="0" tIns="0" rIns="0" bIns="0" rtlCol="0">
            <a:noAutofit/>
          </a:bodyPr>
          <a:lstStyle/>
          <a:p>
            <a:endParaRPr sz="731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FA622AA-407E-4F46-953C-4F5CFFF27758}"/>
              </a:ext>
            </a:extLst>
          </p:cNvPr>
          <p:cNvGrpSpPr/>
          <p:nvPr userDrawn="1"/>
        </p:nvGrpSpPr>
        <p:grpSpPr>
          <a:xfrm>
            <a:off x="7820355" y="5902835"/>
            <a:ext cx="215146" cy="264795"/>
            <a:chOff x="12833403" y="7870446"/>
            <a:chExt cx="353060" cy="353060"/>
          </a:xfrm>
        </p:grpSpPr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FE6F9D51-5130-443F-B1D6-66A7423C656F}"/>
                </a:ext>
              </a:extLst>
            </p:cNvPr>
            <p:cNvSpPr/>
            <p:nvPr/>
          </p:nvSpPr>
          <p:spPr>
            <a:xfrm>
              <a:off x="12833403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9D8A372B-5C39-4A64-9C1B-63367CD65657}"/>
                </a:ext>
              </a:extLst>
            </p:cNvPr>
            <p:cNvSpPr/>
            <p:nvPr/>
          </p:nvSpPr>
          <p:spPr>
            <a:xfrm>
              <a:off x="12956971" y="7938711"/>
              <a:ext cx="105664" cy="21626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B1B7B49-0DA0-45B6-8E19-E1D65283D0ED}"/>
              </a:ext>
            </a:extLst>
          </p:cNvPr>
          <p:cNvGrpSpPr/>
          <p:nvPr userDrawn="1"/>
        </p:nvGrpSpPr>
        <p:grpSpPr>
          <a:xfrm>
            <a:off x="8147748" y="5902835"/>
            <a:ext cx="215146" cy="264795"/>
            <a:chOff x="13370664" y="7870446"/>
            <a:chExt cx="353060" cy="353060"/>
          </a:xfrm>
        </p:grpSpPr>
        <p:sp>
          <p:nvSpPr>
            <p:cNvPr id="18" name="object 16">
              <a:extLst>
                <a:ext uri="{FF2B5EF4-FFF2-40B4-BE49-F238E27FC236}">
                  <a16:creationId xmlns:a16="http://schemas.microsoft.com/office/drawing/2014/main" id="{656B5F96-588D-4950-953A-24C2FAA305BA}"/>
                </a:ext>
              </a:extLst>
            </p:cNvPr>
            <p:cNvSpPr/>
            <p:nvPr/>
          </p:nvSpPr>
          <p:spPr>
            <a:xfrm>
              <a:off x="13370664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11BF1B32-D111-4881-9DFF-43E6C6F520A6}"/>
                </a:ext>
              </a:extLst>
            </p:cNvPr>
            <p:cNvSpPr/>
            <p:nvPr/>
          </p:nvSpPr>
          <p:spPr>
            <a:xfrm>
              <a:off x="13442765" y="7962081"/>
              <a:ext cx="208597" cy="16953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C6C106-DE9F-424D-9B9A-C24F893C9D73}"/>
              </a:ext>
            </a:extLst>
          </p:cNvPr>
          <p:cNvGrpSpPr/>
          <p:nvPr userDrawn="1"/>
        </p:nvGrpSpPr>
        <p:grpSpPr>
          <a:xfrm>
            <a:off x="9129932" y="5902835"/>
            <a:ext cx="215146" cy="264795"/>
            <a:chOff x="14982452" y="7870446"/>
            <a:chExt cx="353060" cy="353060"/>
          </a:xfrm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48B0EE01-8313-438B-85E4-919E3227E5BE}"/>
                </a:ext>
              </a:extLst>
            </p:cNvPr>
            <p:cNvSpPr/>
            <p:nvPr/>
          </p:nvSpPr>
          <p:spPr>
            <a:xfrm>
              <a:off x="14982452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4656ECC0-6C42-4410-9C22-44D7020441F1}"/>
                </a:ext>
              </a:extLst>
            </p:cNvPr>
            <p:cNvSpPr/>
            <p:nvPr/>
          </p:nvSpPr>
          <p:spPr>
            <a:xfrm>
              <a:off x="15049749" y="7937746"/>
              <a:ext cx="218198" cy="21819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6C8FFF-8FEA-4190-BEF9-18887051D0DD}"/>
              </a:ext>
            </a:extLst>
          </p:cNvPr>
          <p:cNvGrpSpPr/>
          <p:nvPr userDrawn="1"/>
        </p:nvGrpSpPr>
        <p:grpSpPr>
          <a:xfrm>
            <a:off x="8802538" y="5902835"/>
            <a:ext cx="215146" cy="264795"/>
            <a:chOff x="14445191" y="7870446"/>
            <a:chExt cx="353060" cy="353060"/>
          </a:xfrm>
        </p:grpSpPr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3414877-28FB-4DC1-8403-7063952D0A34}"/>
                </a:ext>
              </a:extLst>
            </p:cNvPr>
            <p:cNvSpPr/>
            <p:nvPr/>
          </p:nvSpPr>
          <p:spPr>
            <a:xfrm>
              <a:off x="14445191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152A3D67-68A0-4395-A725-E4D4B063083F}"/>
                </a:ext>
              </a:extLst>
            </p:cNvPr>
            <p:cNvSpPr/>
            <p:nvPr/>
          </p:nvSpPr>
          <p:spPr>
            <a:xfrm>
              <a:off x="14516264" y="7973118"/>
              <a:ext cx="210654" cy="14744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9B15965-B2D7-4F16-8E53-EFCD29DF2415}"/>
              </a:ext>
            </a:extLst>
          </p:cNvPr>
          <p:cNvGrpSpPr/>
          <p:nvPr userDrawn="1"/>
        </p:nvGrpSpPr>
        <p:grpSpPr>
          <a:xfrm>
            <a:off x="8475144" y="5902835"/>
            <a:ext cx="215146" cy="264795"/>
            <a:chOff x="13907928" y="7870446"/>
            <a:chExt cx="353060" cy="35306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55F9FD29-BE99-4B55-9E02-369EDD098BF6}"/>
                </a:ext>
              </a:extLst>
            </p:cNvPr>
            <p:cNvSpPr/>
            <p:nvPr/>
          </p:nvSpPr>
          <p:spPr>
            <a:xfrm>
              <a:off x="13907928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7E5DCE-E3CE-4A81-935E-3853938624C6}"/>
                </a:ext>
              </a:extLst>
            </p:cNvPr>
            <p:cNvSpPr/>
            <p:nvPr/>
          </p:nvSpPr>
          <p:spPr>
            <a:xfrm>
              <a:off x="13990901" y="7954696"/>
              <a:ext cx="186842" cy="18430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30" name="object 8">
            <a:extLst>
              <a:ext uri="{FF2B5EF4-FFF2-40B4-BE49-F238E27FC236}">
                <a16:creationId xmlns:a16="http://schemas.microsoft.com/office/drawing/2014/main" id="{30407C8C-1F92-4D15-91A5-2F39144E61A5}"/>
              </a:ext>
            </a:extLst>
          </p:cNvPr>
          <p:cNvSpPr txBox="1"/>
          <p:nvPr userDrawn="1"/>
        </p:nvSpPr>
        <p:spPr>
          <a:xfrm>
            <a:off x="7820355" y="5487350"/>
            <a:ext cx="1536557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grpSp>
        <p:nvGrpSpPr>
          <p:cNvPr id="38" name="Graphique 30">
            <a:extLst>
              <a:ext uri="{FF2B5EF4-FFF2-40B4-BE49-F238E27FC236}">
                <a16:creationId xmlns:a16="http://schemas.microsoft.com/office/drawing/2014/main" id="{EFD8DA84-E25B-4397-9A13-BE58B213B7E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213" y="5553303"/>
            <a:ext cx="2228850" cy="650468"/>
            <a:chOff x="6756400" y="5334000"/>
            <a:chExt cx="1824936" cy="432729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D7AB141-7BCF-40C0-B8C8-1BE3AA1B10F4}"/>
                </a:ext>
              </a:extLst>
            </p:cNvPr>
            <p:cNvSpPr/>
            <p:nvPr/>
          </p:nvSpPr>
          <p:spPr>
            <a:xfrm>
              <a:off x="7041667" y="567528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/>
            </a:p>
          </p:txBody>
        </p:sp>
        <p:grpSp>
          <p:nvGrpSpPr>
            <p:cNvPr id="40" name="Graphique 30">
              <a:extLst>
                <a:ext uri="{FF2B5EF4-FFF2-40B4-BE49-F238E27FC236}">
                  <a16:creationId xmlns:a16="http://schemas.microsoft.com/office/drawing/2014/main" id="{C1A2F515-8375-4C33-99AF-323CF12CD29D}"/>
                </a:ext>
              </a:extLst>
            </p:cNvPr>
            <p:cNvGrpSpPr/>
            <p:nvPr/>
          </p:nvGrpSpPr>
          <p:grpSpPr>
            <a:xfrm>
              <a:off x="6756400" y="5334000"/>
              <a:ext cx="1824936" cy="273031"/>
              <a:chOff x="6756400" y="5334000"/>
              <a:chExt cx="1824936" cy="273031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61F09EFB-CB0B-4FBD-B3D9-8948AB4B0676}"/>
                  </a:ext>
                </a:extLst>
              </p:cNvPr>
              <p:cNvSpPr/>
              <p:nvPr/>
            </p:nvSpPr>
            <p:spPr>
              <a:xfrm>
                <a:off x="6756400" y="533400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87CE0B4-A958-4D06-9420-19E32A7A994A}"/>
                  </a:ext>
                </a:extLst>
              </p:cNvPr>
              <p:cNvSpPr/>
              <p:nvPr/>
            </p:nvSpPr>
            <p:spPr>
              <a:xfrm>
                <a:off x="8363039" y="538422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</p:grpSp>
      </p:grp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F2F5812-A87B-4FF0-8AF0-430D0522C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8680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 err="1"/>
              <a:t>email@inetum.world</a:t>
            </a:r>
            <a:endParaRPr lang="en-US" dirty="0"/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565143D5-803B-4BBC-9EEC-05BD666ADE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606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15EB7A04-D68C-41D0-B905-5073B5F80E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3074" y="33289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 err="1"/>
              <a:t>email@inetum.world</a:t>
            </a:r>
            <a:endParaRPr lang="en-US" dirty="0"/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E0B973B9-F199-4B5E-803F-4410743BD7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1606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A2767ABD-17B9-4375-BB06-FA22C3DCE9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3074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 err="1"/>
              <a:t>email@inetum.world</a:t>
            </a:r>
            <a:endParaRPr lang="en-US" dirty="0"/>
          </a:p>
          <a:p>
            <a:pPr lvl="2"/>
            <a:r>
              <a:rPr lang="en-US" dirty="0"/>
              <a:t>Social network</a:t>
            </a:r>
          </a:p>
        </p:txBody>
      </p:sp>
    </p:spTree>
    <p:extLst>
      <p:ext uri="{BB962C8B-B14F-4D97-AF65-F5344CB8AC3E}">
        <p14:creationId xmlns:p14="http://schemas.microsoft.com/office/powerpoint/2010/main" val="141158315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3" y="3713307"/>
            <a:ext cx="2228850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2" name="object 6">
            <a:extLst>
              <a:ext uri="{FF2B5EF4-FFF2-40B4-BE49-F238E27FC236}">
                <a16:creationId xmlns:a16="http://schemas.microsoft.com/office/drawing/2014/main" id="{3F569564-E659-414C-A3DD-5CDA9CE69D1E}"/>
              </a:ext>
            </a:extLst>
          </p:cNvPr>
          <p:cNvSpPr/>
          <p:nvPr userDrawn="1"/>
        </p:nvSpPr>
        <p:spPr>
          <a:xfrm>
            <a:off x="7677150" y="27431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 userDrawn="1"/>
        </p:nvSpPr>
        <p:spPr>
          <a:xfrm>
            <a:off x="3768923" y="3895726"/>
            <a:ext cx="1369814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</p:spTree>
    <p:extLst>
      <p:ext uri="{BB962C8B-B14F-4D97-AF65-F5344CB8AC3E}">
        <p14:creationId xmlns:p14="http://schemas.microsoft.com/office/powerpoint/2010/main" val="409469517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7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2" name="object 6">
            <a:extLst>
              <a:ext uri="{FF2B5EF4-FFF2-40B4-BE49-F238E27FC236}">
                <a16:creationId xmlns:a16="http://schemas.microsoft.com/office/drawing/2014/main" id="{3F569564-E659-414C-A3DD-5CDA9CE69D1E}"/>
              </a:ext>
            </a:extLst>
          </p:cNvPr>
          <p:cNvSpPr/>
          <p:nvPr userDrawn="1"/>
        </p:nvSpPr>
        <p:spPr>
          <a:xfrm>
            <a:off x="7677150" y="27431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 userDrawn="1"/>
        </p:nvSpPr>
        <p:spPr>
          <a:xfrm>
            <a:off x="3768923" y="3895726"/>
            <a:ext cx="1369814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</p:spTree>
    <p:extLst>
      <p:ext uri="{BB962C8B-B14F-4D97-AF65-F5344CB8AC3E}">
        <p14:creationId xmlns:p14="http://schemas.microsoft.com/office/powerpoint/2010/main" val="373488050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3857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ver ">
    <p:bg>
      <p:bgPr>
        <a:solidFill>
          <a:srgbClr val="222C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582E72F-5299-445D-AA7E-96F5B70AF5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57200658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rgbClr val="005473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ing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B9ADED-DF4F-4FC6-A076-1C2DFF1798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7070403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s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2423" y="1741839"/>
            <a:ext cx="4210050" cy="473678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6636" y="1741839"/>
            <a:ext cx="4210050" cy="4508236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619432" y="1157826"/>
            <a:ext cx="4215118" cy="53231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26636" y="1157826"/>
            <a:ext cx="4216952" cy="53231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2313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5699" y="382623"/>
            <a:ext cx="7561065" cy="35219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194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5699" y="1371600"/>
            <a:ext cx="8694148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</a:p>
          <a:p>
            <a:pPr lvl="3"/>
            <a:r>
              <a:rPr lang="en-US"/>
              <a:t>Text level 4</a:t>
            </a:r>
          </a:p>
          <a:p>
            <a:pPr lvl="4"/>
            <a:r>
              <a:rPr lang="en-US"/>
              <a:t>Text level 5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E7B67AD-CC0A-4B52-BABC-C439F887D4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23640748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5699" y="1379943"/>
            <a:ext cx="8694148" cy="1372477"/>
          </a:xfr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</a:p>
          <a:p>
            <a:pPr lvl="3"/>
            <a:r>
              <a:rPr lang="en-US"/>
              <a:t>Text level 4</a:t>
            </a:r>
          </a:p>
          <a:p>
            <a:pPr lvl="4"/>
            <a:r>
              <a:rPr lang="en-US"/>
              <a:t>Text level 5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1F0E40C-C0B6-4FE3-BCC5-C2B48E5D6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D79436BD-1BEC-4D7D-B562-AB3BD62879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5699" y="382623"/>
            <a:ext cx="7561065" cy="35219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194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05575963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7841DCF2-2B94-45F3-94F5-118FE191F0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7213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/>
              <a:t>Insert </a:t>
            </a:r>
            <a:r>
              <a:rPr lang="fr-FR" err="1"/>
              <a:t>picture</a:t>
            </a:r>
            <a:endParaRPr lang="en-US"/>
          </a:p>
        </p:txBody>
      </p:sp>
      <p:sp>
        <p:nvSpPr>
          <p:cNvPr id="57" name="Text Placeholder 18">
            <a:extLst>
              <a:ext uri="{FF2B5EF4-FFF2-40B4-BE49-F238E27FC236}">
                <a16:creationId xmlns:a16="http://schemas.microsoft.com/office/drawing/2014/main" id="{9675BD83-58FE-4C71-B90D-479A1D8BFE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8680" y="33289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 err="1"/>
              <a:t>email@inetum.world</a:t>
            </a:r>
            <a:endParaRPr lang="en-US"/>
          </a:p>
          <a:p>
            <a:pPr lvl="2"/>
            <a:r>
              <a:rPr lang="en-US"/>
              <a:t>Social network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570C0C40-76FE-48E0-A40C-7FA39A6116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3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/>
              <a:t>Insert </a:t>
            </a:r>
            <a:r>
              <a:rPr lang="fr-FR" err="1"/>
              <a:t>picture</a:t>
            </a:r>
            <a:endParaRPr lang="en-US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380F4B4-DFB8-45BA-BF39-FD12DC17938D}"/>
              </a:ext>
            </a:extLst>
          </p:cNvPr>
          <p:cNvSpPr/>
          <p:nvPr userDrawn="1"/>
        </p:nvSpPr>
        <p:spPr>
          <a:xfrm>
            <a:off x="0" y="5143500"/>
            <a:ext cx="9906000" cy="1714500"/>
          </a:xfrm>
          <a:custGeom>
            <a:avLst/>
            <a:gdLst>
              <a:gd name="connsiteX0" fmla="*/ 0 w 16256000"/>
              <a:gd name="connsiteY0" fmla="*/ 0 h 2286000"/>
              <a:gd name="connsiteX1" fmla="*/ 16256000 w 16256000"/>
              <a:gd name="connsiteY1" fmla="*/ 0 h 2286000"/>
              <a:gd name="connsiteX2" fmla="*/ 16256000 w 16256000"/>
              <a:gd name="connsiteY2" fmla="*/ 1371600 h 2286000"/>
              <a:gd name="connsiteX3" fmla="*/ 15341600 w 16256000"/>
              <a:gd name="connsiteY3" fmla="*/ 1371600 h 2286000"/>
              <a:gd name="connsiteX4" fmla="*/ 15341600 w 16256000"/>
              <a:gd name="connsiteY4" fmla="*/ 2286000 h 2286000"/>
              <a:gd name="connsiteX5" fmla="*/ 0 w 16256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56000" h="2286000">
                <a:moveTo>
                  <a:pt x="0" y="0"/>
                </a:moveTo>
                <a:lnTo>
                  <a:pt x="16256000" y="0"/>
                </a:lnTo>
                <a:lnTo>
                  <a:pt x="16256000" y="1371600"/>
                </a:lnTo>
                <a:lnTo>
                  <a:pt x="15341600" y="1371600"/>
                </a:lnTo>
                <a:lnTo>
                  <a:pt x="15341600" y="2286000"/>
                </a:lnTo>
                <a:lnTo>
                  <a:pt x="0" y="2286000"/>
                </a:lnTo>
                <a:close/>
              </a:path>
            </a:pathLst>
          </a:custGeom>
          <a:solidFill>
            <a:srgbClr val="222C4A"/>
          </a:solidFill>
        </p:spPr>
        <p:txBody>
          <a:bodyPr wrap="square" lIns="0" tIns="0" rIns="0" bIns="0" rtlCol="0">
            <a:noAutofit/>
          </a:bodyPr>
          <a:lstStyle/>
          <a:p>
            <a:endParaRPr sz="731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FA622AA-407E-4F46-953C-4F5CFFF27758}"/>
              </a:ext>
            </a:extLst>
          </p:cNvPr>
          <p:cNvGrpSpPr/>
          <p:nvPr userDrawn="1"/>
        </p:nvGrpSpPr>
        <p:grpSpPr>
          <a:xfrm>
            <a:off x="7820355" y="5902835"/>
            <a:ext cx="215146" cy="264795"/>
            <a:chOff x="12833403" y="7870446"/>
            <a:chExt cx="353060" cy="353060"/>
          </a:xfrm>
        </p:grpSpPr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FE6F9D51-5130-443F-B1D6-66A7423C656F}"/>
                </a:ext>
              </a:extLst>
            </p:cNvPr>
            <p:cNvSpPr/>
            <p:nvPr/>
          </p:nvSpPr>
          <p:spPr>
            <a:xfrm>
              <a:off x="12833403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9D8A372B-5C39-4A64-9C1B-63367CD65657}"/>
                </a:ext>
              </a:extLst>
            </p:cNvPr>
            <p:cNvSpPr/>
            <p:nvPr/>
          </p:nvSpPr>
          <p:spPr>
            <a:xfrm>
              <a:off x="12956971" y="7938711"/>
              <a:ext cx="105664" cy="21626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B1B7B49-0DA0-45B6-8E19-E1D65283D0ED}"/>
              </a:ext>
            </a:extLst>
          </p:cNvPr>
          <p:cNvGrpSpPr/>
          <p:nvPr userDrawn="1"/>
        </p:nvGrpSpPr>
        <p:grpSpPr>
          <a:xfrm>
            <a:off x="8147748" y="5902835"/>
            <a:ext cx="215146" cy="264795"/>
            <a:chOff x="13370664" y="7870446"/>
            <a:chExt cx="353060" cy="353060"/>
          </a:xfrm>
        </p:grpSpPr>
        <p:sp>
          <p:nvSpPr>
            <p:cNvPr id="18" name="object 16">
              <a:extLst>
                <a:ext uri="{FF2B5EF4-FFF2-40B4-BE49-F238E27FC236}">
                  <a16:creationId xmlns:a16="http://schemas.microsoft.com/office/drawing/2014/main" id="{656B5F96-588D-4950-953A-24C2FAA305BA}"/>
                </a:ext>
              </a:extLst>
            </p:cNvPr>
            <p:cNvSpPr/>
            <p:nvPr/>
          </p:nvSpPr>
          <p:spPr>
            <a:xfrm>
              <a:off x="13370664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11BF1B32-D111-4881-9DFF-43E6C6F520A6}"/>
                </a:ext>
              </a:extLst>
            </p:cNvPr>
            <p:cNvSpPr/>
            <p:nvPr/>
          </p:nvSpPr>
          <p:spPr>
            <a:xfrm>
              <a:off x="13442765" y="7962081"/>
              <a:ext cx="208597" cy="16953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C6C106-DE9F-424D-9B9A-C24F893C9D73}"/>
              </a:ext>
            </a:extLst>
          </p:cNvPr>
          <p:cNvGrpSpPr/>
          <p:nvPr userDrawn="1"/>
        </p:nvGrpSpPr>
        <p:grpSpPr>
          <a:xfrm>
            <a:off x="9129932" y="5902835"/>
            <a:ext cx="215146" cy="264795"/>
            <a:chOff x="14982452" y="7870446"/>
            <a:chExt cx="353060" cy="353060"/>
          </a:xfrm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48B0EE01-8313-438B-85E4-919E3227E5BE}"/>
                </a:ext>
              </a:extLst>
            </p:cNvPr>
            <p:cNvSpPr/>
            <p:nvPr/>
          </p:nvSpPr>
          <p:spPr>
            <a:xfrm>
              <a:off x="14982452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4656ECC0-6C42-4410-9C22-44D7020441F1}"/>
                </a:ext>
              </a:extLst>
            </p:cNvPr>
            <p:cNvSpPr/>
            <p:nvPr/>
          </p:nvSpPr>
          <p:spPr>
            <a:xfrm>
              <a:off x="15049749" y="7937746"/>
              <a:ext cx="218198" cy="21819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6C8FFF-8FEA-4190-BEF9-18887051D0DD}"/>
              </a:ext>
            </a:extLst>
          </p:cNvPr>
          <p:cNvGrpSpPr/>
          <p:nvPr userDrawn="1"/>
        </p:nvGrpSpPr>
        <p:grpSpPr>
          <a:xfrm>
            <a:off x="8802538" y="5902835"/>
            <a:ext cx="215146" cy="264795"/>
            <a:chOff x="14445191" y="7870446"/>
            <a:chExt cx="353060" cy="353060"/>
          </a:xfrm>
        </p:grpSpPr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3414877-28FB-4DC1-8403-7063952D0A34}"/>
                </a:ext>
              </a:extLst>
            </p:cNvPr>
            <p:cNvSpPr/>
            <p:nvPr/>
          </p:nvSpPr>
          <p:spPr>
            <a:xfrm>
              <a:off x="14445191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152A3D67-68A0-4395-A725-E4D4B063083F}"/>
                </a:ext>
              </a:extLst>
            </p:cNvPr>
            <p:cNvSpPr/>
            <p:nvPr/>
          </p:nvSpPr>
          <p:spPr>
            <a:xfrm>
              <a:off x="14516264" y="7973118"/>
              <a:ext cx="210654" cy="14744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9B15965-B2D7-4F16-8E53-EFCD29DF2415}"/>
              </a:ext>
            </a:extLst>
          </p:cNvPr>
          <p:cNvGrpSpPr/>
          <p:nvPr userDrawn="1"/>
        </p:nvGrpSpPr>
        <p:grpSpPr>
          <a:xfrm>
            <a:off x="8475144" y="5902835"/>
            <a:ext cx="215146" cy="264795"/>
            <a:chOff x="13907928" y="7870446"/>
            <a:chExt cx="353060" cy="35306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55F9FD29-BE99-4B55-9E02-369EDD098BF6}"/>
                </a:ext>
              </a:extLst>
            </p:cNvPr>
            <p:cNvSpPr/>
            <p:nvPr/>
          </p:nvSpPr>
          <p:spPr>
            <a:xfrm>
              <a:off x="13907928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7E5DCE-E3CE-4A81-935E-3853938624C6}"/>
                </a:ext>
              </a:extLst>
            </p:cNvPr>
            <p:cNvSpPr/>
            <p:nvPr/>
          </p:nvSpPr>
          <p:spPr>
            <a:xfrm>
              <a:off x="13990901" y="7954696"/>
              <a:ext cx="186842" cy="18430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30" name="object 8">
            <a:extLst>
              <a:ext uri="{FF2B5EF4-FFF2-40B4-BE49-F238E27FC236}">
                <a16:creationId xmlns:a16="http://schemas.microsoft.com/office/drawing/2014/main" id="{30407C8C-1F92-4D15-91A5-2F39144E61A5}"/>
              </a:ext>
            </a:extLst>
          </p:cNvPr>
          <p:cNvSpPr txBox="1"/>
          <p:nvPr userDrawn="1"/>
        </p:nvSpPr>
        <p:spPr>
          <a:xfrm>
            <a:off x="7820355" y="5487350"/>
            <a:ext cx="1536557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>
              <a:latin typeface="Verdana" panose="020B0604030504040204" pitchFamily="34" charset="0"/>
              <a:cs typeface="Poppins ExtraBold"/>
            </a:endParaRPr>
          </a:p>
        </p:txBody>
      </p:sp>
      <p:grpSp>
        <p:nvGrpSpPr>
          <p:cNvPr id="38" name="Graphique 30">
            <a:extLst>
              <a:ext uri="{FF2B5EF4-FFF2-40B4-BE49-F238E27FC236}">
                <a16:creationId xmlns:a16="http://schemas.microsoft.com/office/drawing/2014/main" id="{EFD8DA84-E25B-4397-9A13-BE58B213B7E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213" y="5553303"/>
            <a:ext cx="2228850" cy="650468"/>
            <a:chOff x="6756400" y="5334000"/>
            <a:chExt cx="1824936" cy="432729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D7AB141-7BCF-40C0-B8C8-1BE3AA1B10F4}"/>
                </a:ext>
              </a:extLst>
            </p:cNvPr>
            <p:cNvSpPr/>
            <p:nvPr/>
          </p:nvSpPr>
          <p:spPr>
            <a:xfrm>
              <a:off x="7041667" y="567528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/>
            </a:p>
          </p:txBody>
        </p:sp>
        <p:grpSp>
          <p:nvGrpSpPr>
            <p:cNvPr id="40" name="Graphique 30">
              <a:extLst>
                <a:ext uri="{FF2B5EF4-FFF2-40B4-BE49-F238E27FC236}">
                  <a16:creationId xmlns:a16="http://schemas.microsoft.com/office/drawing/2014/main" id="{C1A2F515-8375-4C33-99AF-323CF12CD29D}"/>
                </a:ext>
              </a:extLst>
            </p:cNvPr>
            <p:cNvGrpSpPr/>
            <p:nvPr/>
          </p:nvGrpSpPr>
          <p:grpSpPr>
            <a:xfrm>
              <a:off x="6756400" y="5334000"/>
              <a:ext cx="1824936" cy="273031"/>
              <a:chOff x="6756400" y="5334000"/>
              <a:chExt cx="1824936" cy="273031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61F09EFB-CB0B-4FBD-B3D9-8948AB4B0676}"/>
                  </a:ext>
                </a:extLst>
              </p:cNvPr>
              <p:cNvSpPr/>
              <p:nvPr/>
            </p:nvSpPr>
            <p:spPr>
              <a:xfrm>
                <a:off x="6756400" y="533400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87CE0B4-A958-4D06-9420-19E32A7A994A}"/>
                  </a:ext>
                </a:extLst>
              </p:cNvPr>
              <p:cNvSpPr/>
              <p:nvPr/>
            </p:nvSpPr>
            <p:spPr>
              <a:xfrm>
                <a:off x="8363039" y="538422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</p:grpSp>
      </p:grp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F2F5812-A87B-4FF0-8AF0-430D0522C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8680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 err="1"/>
              <a:t>email@inetum.world</a:t>
            </a:r>
            <a:endParaRPr lang="en-US"/>
          </a:p>
          <a:p>
            <a:pPr lvl="2"/>
            <a:r>
              <a:rPr lang="en-US"/>
              <a:t>Social network</a:t>
            </a: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565143D5-803B-4BBC-9EEC-05BD666ADE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606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/>
              <a:t>Insert </a:t>
            </a:r>
            <a:r>
              <a:rPr lang="fr-FR" err="1"/>
              <a:t>picture</a:t>
            </a:r>
            <a:endParaRPr lang="en-US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15EB7A04-D68C-41D0-B905-5073B5F80E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3074" y="33289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 err="1"/>
              <a:t>email@inetum.world</a:t>
            </a:r>
            <a:endParaRPr lang="en-US"/>
          </a:p>
          <a:p>
            <a:pPr lvl="2"/>
            <a:r>
              <a:rPr lang="en-US"/>
              <a:t>Social network</a:t>
            </a:r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E0B973B9-F199-4B5E-803F-4410743BD7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1606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/>
              <a:t>Insert </a:t>
            </a:r>
            <a:r>
              <a:rPr lang="fr-FR" err="1"/>
              <a:t>picture</a:t>
            </a:r>
            <a:endParaRPr lang="en-US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A2767ABD-17B9-4375-BB06-FA22C3DCE9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3074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 err="1"/>
              <a:t>email@inetum.world</a:t>
            </a:r>
            <a:endParaRPr lang="en-US"/>
          </a:p>
          <a:p>
            <a:pPr lvl="2"/>
            <a:r>
              <a:rPr lang="en-US"/>
              <a:t>Social network</a:t>
            </a:r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766E12D7-53BE-4246-8517-2DA21308F6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26906" y="6410308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401610765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7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2" name="object 6">
            <a:extLst>
              <a:ext uri="{FF2B5EF4-FFF2-40B4-BE49-F238E27FC236}">
                <a16:creationId xmlns:a16="http://schemas.microsoft.com/office/drawing/2014/main" id="{3F569564-E659-414C-A3DD-5CDA9CE69D1E}"/>
              </a:ext>
            </a:extLst>
          </p:cNvPr>
          <p:cNvSpPr/>
          <p:nvPr userDrawn="1"/>
        </p:nvSpPr>
        <p:spPr>
          <a:xfrm>
            <a:off x="7677150" y="27431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 userDrawn="1"/>
        </p:nvSpPr>
        <p:spPr>
          <a:xfrm>
            <a:off x="3768923" y="3895726"/>
            <a:ext cx="1369814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>
              <a:lnSpc>
                <a:spcPct val="100000"/>
              </a:lnSpc>
              <a:spcBef>
                <a:spcPts val="61"/>
              </a:spcBef>
            </a:pPr>
            <a:r>
              <a:rPr sz="1341" b="1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</p:spTree>
    <p:extLst>
      <p:ext uri="{BB962C8B-B14F-4D97-AF65-F5344CB8AC3E}">
        <p14:creationId xmlns:p14="http://schemas.microsoft.com/office/powerpoint/2010/main" val="373488050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5468422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5468422" cy="13724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</a:p>
          <a:p>
            <a:pPr lvl="3"/>
            <a:r>
              <a:rPr lang="en-US"/>
              <a:t>Text level 4</a:t>
            </a:r>
          </a:p>
          <a:p>
            <a:pPr lvl="4"/>
            <a:r>
              <a:rPr lang="en-US"/>
              <a:t>Text level 5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750A8D-D645-4EBC-8C78-B725FE49F392}"/>
              </a:ext>
            </a:extLst>
          </p:cNvPr>
          <p:cNvSpPr/>
          <p:nvPr userDrawn="1"/>
        </p:nvSpPr>
        <p:spPr>
          <a:xfrm>
            <a:off x="6471920" y="0"/>
            <a:ext cx="343408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/>
          </a:p>
        </p:txBody>
      </p:sp>
      <p:pic>
        <p:nvPicPr>
          <p:cNvPr id="12" name="Graphique 30">
            <a:extLst>
              <a:ext uri="{FF2B5EF4-FFF2-40B4-BE49-F238E27FC236}">
                <a16:creationId xmlns:a16="http://schemas.microsoft.com/office/drawing/2014/main" id="{AB20CABB-66EA-4633-A391-7708C263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" name="bg object 20">
            <a:extLst>
              <a:ext uri="{FF2B5EF4-FFF2-40B4-BE49-F238E27FC236}">
                <a16:creationId xmlns:a16="http://schemas.microsoft.com/office/drawing/2014/main" id="{922896F2-0923-44AF-A3DA-76ED2701C2C3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5EBFDBC-1DAA-4DBB-831E-149F6CFA38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  <p:sp>
        <p:nvSpPr>
          <p:cNvPr id="16" name="TextBox 16">
            <a:extLst>
              <a:ext uri="{FF2B5EF4-FFF2-40B4-BE49-F238E27FC236}">
                <a16:creationId xmlns:a16="http://schemas.microsoft.com/office/drawing/2014/main" id="{59037F40-E5DF-4B7D-9923-77887F4ACB9B}"/>
              </a:ext>
            </a:extLst>
          </p:cNvPr>
          <p:cNvSpPr txBox="1"/>
          <p:nvPr userDrawn="1"/>
        </p:nvSpPr>
        <p:spPr>
          <a:xfrm>
            <a:off x="9417665" y="6418897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7934614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5468422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5468422" cy="13724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</a:p>
          <a:p>
            <a:pPr lvl="3"/>
            <a:r>
              <a:rPr lang="en-US"/>
              <a:t>Text level 4</a:t>
            </a:r>
          </a:p>
          <a:p>
            <a:pPr lvl="4"/>
            <a:r>
              <a:rPr lang="en-US"/>
              <a:t>Text level 5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750A8D-D645-4EBC-8C78-B725FE49F392}"/>
              </a:ext>
            </a:extLst>
          </p:cNvPr>
          <p:cNvSpPr/>
          <p:nvPr userDrawn="1"/>
        </p:nvSpPr>
        <p:spPr>
          <a:xfrm>
            <a:off x="7506891" y="0"/>
            <a:ext cx="239910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/>
          </a:p>
        </p:txBody>
      </p:sp>
      <p:pic>
        <p:nvPicPr>
          <p:cNvPr id="12" name="Graphique 30">
            <a:extLst>
              <a:ext uri="{FF2B5EF4-FFF2-40B4-BE49-F238E27FC236}">
                <a16:creationId xmlns:a16="http://schemas.microsoft.com/office/drawing/2014/main" id="{AB20CABB-66EA-4633-A391-7708C263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" name="bg object 20">
            <a:extLst>
              <a:ext uri="{FF2B5EF4-FFF2-40B4-BE49-F238E27FC236}">
                <a16:creationId xmlns:a16="http://schemas.microsoft.com/office/drawing/2014/main" id="{922896F2-0923-44AF-A3DA-76ED2701C2C3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3" name="TextBox 16">
            <a:extLst>
              <a:ext uri="{FF2B5EF4-FFF2-40B4-BE49-F238E27FC236}">
                <a16:creationId xmlns:a16="http://schemas.microsoft.com/office/drawing/2014/main" id="{5F93FA0E-B448-4F73-9628-624EC50C0698}"/>
              </a:ext>
            </a:extLst>
          </p:cNvPr>
          <p:cNvSpPr txBox="1"/>
          <p:nvPr userDrawn="1"/>
        </p:nvSpPr>
        <p:spPr>
          <a:xfrm>
            <a:off x="9417665" y="6418897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20C2BC6-A025-45B8-9440-D8DAE250EE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233436571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3" name="Text Placeholder 31">
            <a:extLst>
              <a:ext uri="{FF2B5EF4-FFF2-40B4-BE49-F238E27FC236}">
                <a16:creationId xmlns:a16="http://schemas.microsoft.com/office/drawing/2014/main" id="{3511C7BF-3840-4CE8-BB5B-C7B08391350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37088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114" name="Text Placeholder 18">
            <a:extLst>
              <a:ext uri="{FF2B5EF4-FFF2-40B4-BE49-F238E27FC236}">
                <a16:creationId xmlns:a16="http://schemas.microsoft.com/office/drawing/2014/main" id="{EFD58F2A-B07B-4D2B-8951-E00DDA67D76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802041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5" name="Text Placeholder 18">
            <a:extLst>
              <a:ext uri="{FF2B5EF4-FFF2-40B4-BE49-F238E27FC236}">
                <a16:creationId xmlns:a16="http://schemas.microsoft.com/office/drawing/2014/main" id="{A3AA694F-FB48-41A8-B07B-EC1F3B40C39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802040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30" name="Text Placeholder 18">
            <a:extLst>
              <a:ext uri="{FF2B5EF4-FFF2-40B4-BE49-F238E27FC236}">
                <a16:creationId xmlns:a16="http://schemas.microsoft.com/office/drawing/2014/main" id="{8465A35D-EC66-40E8-80CC-6934147C890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837254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33" name="Text Placeholder 31">
            <a:extLst>
              <a:ext uri="{FF2B5EF4-FFF2-40B4-BE49-F238E27FC236}">
                <a16:creationId xmlns:a16="http://schemas.microsoft.com/office/drawing/2014/main" id="{F5A26CFA-C26B-4F48-AFCC-68C933599A6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7212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134" name="Text Placeholder 18">
            <a:extLst>
              <a:ext uri="{FF2B5EF4-FFF2-40B4-BE49-F238E27FC236}">
                <a16:creationId xmlns:a16="http://schemas.microsoft.com/office/drawing/2014/main" id="{248854A8-0EED-4EC1-81BB-9B97B87D848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122165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5" name="Text Placeholder 18">
            <a:extLst>
              <a:ext uri="{FF2B5EF4-FFF2-40B4-BE49-F238E27FC236}">
                <a16:creationId xmlns:a16="http://schemas.microsoft.com/office/drawing/2014/main" id="{FF847E46-100F-4B85-ABC9-C63CBCF3D74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122164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36" name="Text Placeholder 18">
            <a:extLst>
              <a:ext uri="{FF2B5EF4-FFF2-40B4-BE49-F238E27FC236}">
                <a16:creationId xmlns:a16="http://schemas.microsoft.com/office/drawing/2014/main" id="{1EDAB9D3-F6BE-48C5-94F8-F0CEB0166F3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57378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37" name="Text Placeholder 31">
            <a:extLst>
              <a:ext uri="{FF2B5EF4-FFF2-40B4-BE49-F238E27FC236}">
                <a16:creationId xmlns:a16="http://schemas.microsoft.com/office/drawing/2014/main" id="{6FFEF1B8-6626-4B8C-86D2-FD64ECC7E0E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138" name="Text Placeholder 18">
            <a:extLst>
              <a:ext uri="{FF2B5EF4-FFF2-40B4-BE49-F238E27FC236}">
                <a16:creationId xmlns:a16="http://schemas.microsoft.com/office/drawing/2014/main" id="{5F1270D3-9E35-4323-99FB-4AA40123E72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9" name="Text Placeholder 18">
            <a:extLst>
              <a:ext uri="{FF2B5EF4-FFF2-40B4-BE49-F238E27FC236}">
                <a16:creationId xmlns:a16="http://schemas.microsoft.com/office/drawing/2014/main" id="{1C93CA53-2F3D-4CA4-A60D-15B2C8F9278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0" name="Text Placeholder 18">
            <a:extLst>
              <a:ext uri="{FF2B5EF4-FFF2-40B4-BE49-F238E27FC236}">
                <a16:creationId xmlns:a16="http://schemas.microsoft.com/office/drawing/2014/main" id="{93C6D7CE-3B53-4781-9604-D0FE8BEF0B5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41" name="Text Placeholder 31">
            <a:extLst>
              <a:ext uri="{FF2B5EF4-FFF2-40B4-BE49-F238E27FC236}">
                <a16:creationId xmlns:a16="http://schemas.microsoft.com/office/drawing/2014/main" id="{F09C8D30-46AD-4E01-B69D-ECF0E9639720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142" name="Text Placeholder 18">
            <a:extLst>
              <a:ext uri="{FF2B5EF4-FFF2-40B4-BE49-F238E27FC236}">
                <a16:creationId xmlns:a16="http://schemas.microsoft.com/office/drawing/2014/main" id="{6BBF8358-0312-4476-A379-4092F5096A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131FAF0A-F8E5-4E88-BBC2-856B2610CB5C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DF585C99-0360-4056-A9DA-37C046EC20F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2D049B-FF10-4FE9-B55A-5E1428FB2026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r>
              <a:rPr lang="fr-FR"/>
              <a:t>12/01/2022  |  ©2022 Inetum  | Réunion de Présentation interne - v1.0   Classification: [internal] document TMA Occitanie</a:t>
            </a:r>
            <a:endParaRPr lang="en-US"/>
          </a:p>
        </p:txBody>
      </p:sp>
      <p:sp>
        <p:nvSpPr>
          <p:cNvPr id="21" name="Titre 3">
            <a:extLst>
              <a:ext uri="{FF2B5EF4-FFF2-40B4-BE49-F238E27FC236}">
                <a16:creationId xmlns:a16="http://schemas.microsoft.com/office/drawing/2014/main" id="{AE0B397F-537F-475A-B197-1EC9819F9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9991594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635212" y="1243896"/>
            <a:ext cx="2779121" cy="5224699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1800"/>
            </a:lvl2pPr>
            <a:lvl3pPr>
              <a:lnSpc>
                <a:spcPct val="95000"/>
              </a:lnSpc>
              <a:defRPr sz="1600"/>
            </a:lvl3pPr>
            <a:lvl4pPr>
              <a:lnSpc>
                <a:spcPct val="95000"/>
              </a:lnSpc>
              <a:defRPr sz="1400"/>
            </a:lvl4pPr>
            <a:lvl5pPr>
              <a:lnSpc>
                <a:spcPct val="95000"/>
              </a:lnSpc>
              <a:defRPr sz="12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432" y="1240325"/>
            <a:ext cx="2779121" cy="5238296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1800"/>
            </a:lvl2pPr>
            <a:lvl3pPr>
              <a:lnSpc>
                <a:spcPct val="95000"/>
              </a:lnSpc>
              <a:defRPr sz="1600"/>
            </a:lvl3pPr>
            <a:lvl4pPr>
              <a:lnSpc>
                <a:spcPct val="95000"/>
              </a:lnSpc>
              <a:defRPr sz="1400"/>
            </a:lvl4pPr>
            <a:lvl5pPr>
              <a:lnSpc>
                <a:spcPct val="95000"/>
              </a:lnSpc>
              <a:defRPr sz="12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616843" y="1249378"/>
            <a:ext cx="2779121" cy="5229244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1800"/>
            </a:lvl2pPr>
            <a:lvl3pPr>
              <a:lnSpc>
                <a:spcPct val="95000"/>
              </a:lnSpc>
              <a:defRPr sz="1600"/>
            </a:lvl3pPr>
            <a:lvl4pPr>
              <a:lnSpc>
                <a:spcPct val="95000"/>
              </a:lnSpc>
              <a:defRPr sz="1400"/>
            </a:lvl4pPr>
            <a:lvl5pPr>
              <a:lnSpc>
                <a:spcPct val="95000"/>
              </a:lnSpc>
              <a:defRPr sz="12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6487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é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11"/>
          <p:cNvSpPr txBox="1"/>
          <p:nvPr userDrawn="1"/>
        </p:nvSpPr>
        <p:spPr>
          <a:xfrm>
            <a:off x="0" y="6741368"/>
            <a:ext cx="9906000" cy="116632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22" name="Espace réservé pour une image  12"/>
          <p:cNvSpPr>
            <a:spLocks noGrp="1"/>
          </p:cNvSpPr>
          <p:nvPr>
            <p:ph type="pic" sz="quarter" idx="25"/>
          </p:nvPr>
        </p:nvSpPr>
        <p:spPr>
          <a:xfrm>
            <a:off x="7572682" y="0"/>
            <a:ext cx="2333317" cy="685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433" y="419858"/>
            <a:ext cx="6343342" cy="997392"/>
          </a:xfrm>
        </p:spPr>
        <p:txBody>
          <a:bodyPr tIns="198000" bIns="0" anchor="t"/>
          <a:lstStyle>
            <a:lvl1pPr>
              <a:lnSpc>
                <a:spcPct val="70000"/>
              </a:lnSpc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2423" y="2990849"/>
            <a:ext cx="2075509" cy="3609976"/>
          </a:xfrm>
        </p:spPr>
        <p:txBody>
          <a:bodyPr bIns="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300"/>
            </a:lvl1pPr>
            <a:lvl2pPr marL="108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200"/>
            </a:lvl2pPr>
            <a:lvl3pPr marL="216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100"/>
            </a:lvl3pPr>
            <a:lvl4pPr marL="324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050"/>
            </a:lvl4pPr>
            <a:lvl5pPr marL="432000" indent="-108000"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7150" y="98195"/>
            <a:ext cx="5835600" cy="306000"/>
          </a:xfrm>
        </p:spPr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619433" y="2600325"/>
            <a:ext cx="2078553" cy="28538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3" name="Espace réservé pour une image  12"/>
          <p:cNvSpPr>
            <a:spLocks noGrp="1"/>
          </p:cNvSpPr>
          <p:nvPr>
            <p:ph type="pic" sz="quarter" idx="16" hasCustomPrompt="1"/>
          </p:nvPr>
        </p:nvSpPr>
        <p:spPr>
          <a:xfrm>
            <a:off x="619126" y="1605670"/>
            <a:ext cx="2361564" cy="881109"/>
          </a:xfr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400"/>
            </a:lvl1pPr>
          </a:lstStyle>
          <a:p>
            <a:r>
              <a:rPr lang="fr-FR"/>
              <a:t>Insérer ici le logo client</a:t>
            </a:r>
          </a:p>
        </p:txBody>
      </p:sp>
      <p:pic>
        <p:nvPicPr>
          <p:cNvPr id="38" name="Image 3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543"/>
          <a:stretch>
            <a:fillRect/>
          </a:stretch>
        </p:blipFill>
        <p:spPr>
          <a:xfrm>
            <a:off x="7007382" y="78196"/>
            <a:ext cx="508636" cy="330406"/>
          </a:xfrm>
          <a:custGeom>
            <a:avLst/>
            <a:gdLst>
              <a:gd name="connsiteX0" fmla="*/ 509253 w 552756"/>
              <a:gd name="connsiteY0" fmla="*/ 264808 h 359066"/>
              <a:gd name="connsiteX1" fmla="*/ 552756 w 552756"/>
              <a:gd name="connsiteY1" fmla="*/ 264808 h 359066"/>
              <a:gd name="connsiteX2" fmla="*/ 552756 w 552756"/>
              <a:gd name="connsiteY2" fmla="*/ 347530 h 359066"/>
              <a:gd name="connsiteX3" fmla="*/ 509253 w 552756"/>
              <a:gd name="connsiteY3" fmla="*/ 347530 h 359066"/>
              <a:gd name="connsiteX4" fmla="*/ 0 w 552756"/>
              <a:gd name="connsiteY4" fmla="*/ 0 h 359066"/>
              <a:gd name="connsiteX5" fmla="*/ 509253 w 552756"/>
              <a:gd name="connsiteY5" fmla="*/ 0 h 359066"/>
              <a:gd name="connsiteX6" fmla="*/ 509253 w 552756"/>
              <a:gd name="connsiteY6" fmla="*/ 264808 h 359066"/>
              <a:gd name="connsiteX7" fmla="*/ 191069 w 552756"/>
              <a:gd name="connsiteY7" fmla="*/ 264808 h 359066"/>
              <a:gd name="connsiteX8" fmla="*/ 191069 w 552756"/>
              <a:gd name="connsiteY8" fmla="*/ 347530 h 359066"/>
              <a:gd name="connsiteX9" fmla="*/ 509253 w 552756"/>
              <a:gd name="connsiteY9" fmla="*/ 347530 h 359066"/>
              <a:gd name="connsiteX10" fmla="*/ 509253 w 552756"/>
              <a:gd name="connsiteY10" fmla="*/ 359066 h 359066"/>
              <a:gd name="connsiteX11" fmla="*/ 0 w 552756"/>
              <a:gd name="connsiteY11" fmla="*/ 359066 h 359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52756" h="359066">
                <a:moveTo>
                  <a:pt x="509253" y="264808"/>
                </a:moveTo>
                <a:lnTo>
                  <a:pt x="552756" y="264808"/>
                </a:lnTo>
                <a:lnTo>
                  <a:pt x="552756" y="347530"/>
                </a:lnTo>
                <a:lnTo>
                  <a:pt x="509253" y="347530"/>
                </a:lnTo>
                <a:close/>
                <a:moveTo>
                  <a:pt x="0" y="0"/>
                </a:moveTo>
                <a:lnTo>
                  <a:pt x="509253" y="0"/>
                </a:lnTo>
                <a:lnTo>
                  <a:pt x="509253" y="264808"/>
                </a:lnTo>
                <a:lnTo>
                  <a:pt x="191069" y="264808"/>
                </a:lnTo>
                <a:lnTo>
                  <a:pt x="191069" y="347530"/>
                </a:lnTo>
                <a:lnTo>
                  <a:pt x="509253" y="347530"/>
                </a:lnTo>
                <a:lnTo>
                  <a:pt x="509253" y="359066"/>
                </a:lnTo>
                <a:lnTo>
                  <a:pt x="0" y="359066"/>
                </a:lnTo>
                <a:close/>
              </a:path>
            </a:pathLst>
          </a:custGeom>
        </p:spPr>
      </p:pic>
      <p:sp>
        <p:nvSpPr>
          <p:cNvPr id="55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2971708" y="2600325"/>
            <a:ext cx="2078553" cy="28538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</a:t>
            </a:r>
          </a:p>
        </p:txBody>
      </p:sp>
      <p:cxnSp>
        <p:nvCxnSpPr>
          <p:cNvPr id="56" name="Connecteur droit 55"/>
          <p:cNvCxnSpPr/>
          <p:nvPr userDrawn="1"/>
        </p:nvCxnSpPr>
        <p:spPr>
          <a:xfrm>
            <a:off x="2971400" y="2914288"/>
            <a:ext cx="342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359153" y="2600325"/>
            <a:ext cx="2078553" cy="28538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</a:t>
            </a:r>
          </a:p>
        </p:txBody>
      </p:sp>
      <p:cxnSp>
        <p:nvCxnSpPr>
          <p:cNvPr id="59" name="Connecteur droit 58"/>
          <p:cNvCxnSpPr/>
          <p:nvPr userDrawn="1"/>
        </p:nvCxnSpPr>
        <p:spPr>
          <a:xfrm>
            <a:off x="5358845" y="2914288"/>
            <a:ext cx="342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 userDrawn="1"/>
        </p:nvCxnSpPr>
        <p:spPr>
          <a:xfrm>
            <a:off x="617992" y="2914288"/>
            <a:ext cx="342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/>
          <p:cNvSpPr>
            <a:spLocks noGrp="1"/>
          </p:cNvSpPr>
          <p:nvPr>
            <p:ph sz="half" idx="34"/>
          </p:nvPr>
        </p:nvSpPr>
        <p:spPr>
          <a:xfrm>
            <a:off x="2971708" y="2990849"/>
            <a:ext cx="2075509" cy="3609976"/>
          </a:xfrm>
        </p:spPr>
        <p:txBody>
          <a:bodyPr bIns="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300"/>
            </a:lvl1pPr>
            <a:lvl2pPr marL="108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200"/>
            </a:lvl2pPr>
            <a:lvl3pPr marL="216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100"/>
            </a:lvl3pPr>
            <a:lvl4pPr marL="324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050"/>
            </a:lvl4pPr>
            <a:lvl5pPr marL="432000" indent="-108000"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sz="half" idx="35"/>
          </p:nvPr>
        </p:nvSpPr>
        <p:spPr>
          <a:xfrm>
            <a:off x="5359153" y="2990849"/>
            <a:ext cx="2075509" cy="3609976"/>
          </a:xfrm>
        </p:spPr>
        <p:txBody>
          <a:bodyPr bIns="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300"/>
            </a:lvl1pPr>
            <a:lvl2pPr marL="108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200"/>
            </a:lvl2pPr>
            <a:lvl3pPr marL="216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100"/>
            </a:lvl3pPr>
            <a:lvl4pPr marL="324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050"/>
            </a:lvl4pPr>
            <a:lvl5pPr marL="432000" indent="-108000"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11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encart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terne - DIG - Présentation Outils BU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AF52A2-F75A-4940-9AD6-D5031E7C29D7}" type="slidenum">
              <a:rPr lang="fr-FR" smtClean="0">
                <a:solidFill>
                  <a:srgbClr val="FFFFFF"/>
                </a:solidFill>
              </a:rPr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5029201"/>
            <a:ext cx="9906000" cy="1866900"/>
          </a:xfrm>
          <a:prstGeom prst="rect">
            <a:avLst/>
          </a:prstGeom>
          <a:solidFill>
            <a:srgbClr val="1018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6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47700" y="5245101"/>
            <a:ext cx="8585200" cy="1384300"/>
          </a:xfrm>
        </p:spPr>
        <p:txBody>
          <a:bodyPr/>
          <a:lstStyle>
            <a:lvl1pPr marL="0" indent="0" algn="l" defTabSz="873126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None/>
              <a:defRPr lang="pt-PT" sz="2200" kern="1200" dirty="0" smtClean="0">
                <a:solidFill>
                  <a:srgbClr val="FFFFFF"/>
                </a:solidFill>
                <a:latin typeface="Calibri" pitchFamily="34" charset="0"/>
                <a:ea typeface="ＭＳ Ｐゴシック" charset="-128"/>
                <a:cs typeface="+mn-cs"/>
              </a:defRPr>
            </a:lvl1pPr>
            <a:lvl2pPr marL="515775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2pPr>
            <a:lvl3pPr marL="1031547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3pPr>
            <a:lvl4pPr marL="1547322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4pPr>
            <a:lvl5pPr marL="2063094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Master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styles</a:t>
            </a:r>
            <a:endParaRPr lang="pt-PT"/>
          </a:p>
          <a:p>
            <a:pPr lvl="1"/>
            <a:r>
              <a:rPr lang="pt-PT" err="1"/>
              <a:t>Second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2"/>
            <a:r>
              <a:rPr lang="pt-PT" err="1"/>
              <a:t>Third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3"/>
            <a:r>
              <a:rPr lang="pt-PT" err="1"/>
              <a:t>Fourth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4"/>
            <a:r>
              <a:rPr lang="pt-PT" err="1"/>
              <a:t>Fifth</a:t>
            </a:r>
            <a:r>
              <a:rPr lang="pt-PT"/>
              <a:t> </a:t>
            </a:r>
            <a:r>
              <a:rPr lang="pt-PT" err="1"/>
              <a:t>level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11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630864" y="1351776"/>
            <a:ext cx="8652986" cy="334722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195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s + encart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terne - DIG - Présentation Outils BU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AF52A2-F75A-4940-9AD6-D5031E7C29D7}" type="slidenum">
              <a:rPr lang="fr-FR" smtClean="0">
                <a:solidFill>
                  <a:srgbClr val="FFFFFF"/>
                </a:solidFill>
              </a:rPr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5029201"/>
            <a:ext cx="9906000" cy="1866900"/>
          </a:xfrm>
          <a:prstGeom prst="rect">
            <a:avLst/>
          </a:prstGeom>
          <a:solidFill>
            <a:srgbClr val="1018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6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9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630863" y="1351776"/>
            <a:ext cx="4169737" cy="334722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3"/>
          <p:cNvSpPr>
            <a:spLocks noGrp="1"/>
          </p:cNvSpPr>
          <p:nvPr>
            <p:ph type="body" sz="quarter" idx="15"/>
          </p:nvPr>
        </p:nvSpPr>
        <p:spPr>
          <a:xfrm>
            <a:off x="5110370" y="1351776"/>
            <a:ext cx="4152900" cy="334722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47700" y="5245101"/>
            <a:ext cx="8585200" cy="1384300"/>
          </a:xfrm>
        </p:spPr>
        <p:txBody>
          <a:bodyPr/>
          <a:lstStyle>
            <a:lvl1pPr marL="0" indent="0" algn="l" defTabSz="873126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None/>
              <a:defRPr lang="pt-PT" sz="2200" kern="1200" dirty="0" smtClean="0">
                <a:solidFill>
                  <a:srgbClr val="FFFFFF"/>
                </a:solidFill>
                <a:latin typeface="Calibri" pitchFamily="34" charset="0"/>
                <a:ea typeface="ＭＳ Ｐゴシック" charset="-128"/>
                <a:cs typeface="+mn-cs"/>
              </a:defRPr>
            </a:lvl1pPr>
            <a:lvl2pPr marL="515775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2pPr>
            <a:lvl3pPr marL="1031547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3pPr>
            <a:lvl4pPr marL="1547322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4pPr>
            <a:lvl5pPr marL="2063094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Master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styles</a:t>
            </a:r>
            <a:endParaRPr lang="pt-PT"/>
          </a:p>
          <a:p>
            <a:pPr lvl="1"/>
            <a:r>
              <a:rPr lang="pt-PT" err="1"/>
              <a:t>Second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2"/>
            <a:r>
              <a:rPr lang="pt-PT" err="1"/>
              <a:t>Third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3"/>
            <a:r>
              <a:rPr lang="pt-PT" err="1"/>
              <a:t>Fourth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4"/>
            <a:r>
              <a:rPr lang="pt-PT" err="1"/>
              <a:t>Fifth</a:t>
            </a:r>
            <a:r>
              <a:rPr lang="pt-PT"/>
              <a:t> </a:t>
            </a:r>
            <a:r>
              <a:rPr lang="pt-PT" err="1"/>
              <a:t>level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91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90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erniè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514" y="5896470"/>
            <a:ext cx="951809" cy="67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545118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5879" y="486383"/>
            <a:ext cx="8543925" cy="1777315"/>
          </a:xfrm>
        </p:spPr>
        <p:txBody>
          <a:bodyPr tIns="0" bIns="0" anchor="b"/>
          <a:lstStyle>
            <a:lvl1pPr>
              <a:defRPr sz="6000"/>
            </a:lvl1pPr>
          </a:lstStyle>
          <a:p>
            <a:r>
              <a:rPr lang="fr-FR"/>
              <a:t>Sommai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2568103"/>
            <a:ext cx="8166669" cy="3910518"/>
          </a:xfrm>
        </p:spPr>
        <p:txBody>
          <a:bodyPr>
            <a:normAutofit/>
          </a:bodyPr>
          <a:lstStyle>
            <a:lvl1pPr marL="432000" marR="0" indent="-43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romanUcPeriod"/>
              <a:tabLst/>
              <a:defRPr sz="2000" b="1" baseline="0">
                <a:solidFill>
                  <a:schemeClr val="tx1"/>
                </a:solidFill>
              </a:defRPr>
            </a:lvl1pPr>
            <a:lvl2pPr marL="684000" indent="-2880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i="1">
                <a:solidFill>
                  <a:schemeClr val="accent1"/>
                </a:solidFill>
              </a:defRPr>
            </a:lvl2pPr>
            <a:lvl3pPr marL="864000" indent="-180000">
              <a:buClr>
                <a:schemeClr val="bg1">
                  <a:lumMod val="65000"/>
                </a:schemeClr>
              </a:buClr>
              <a:buFont typeface="Myriad Pro" panose="020B0503030403020204" pitchFamily="34" charset="0"/>
              <a:buChar char="›"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008000" indent="-108000">
              <a:buClr>
                <a:schemeClr val="accent3"/>
              </a:buClr>
              <a:buFont typeface="Myriad Pro" panose="020B0503030403020204" pitchFamily="34" charset="0"/>
              <a:buChar char="›"/>
              <a:defRPr sz="1400">
                <a:solidFill>
                  <a:schemeClr val="accent3"/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7298259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calai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Résultat de recherche d'images pour &quot;business meeting wallpaper&quot;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"/>
          <a:stretch/>
        </p:blipFill>
        <p:spPr bwMode="auto">
          <a:xfrm>
            <a:off x="0" y="-1"/>
            <a:ext cx="9906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6" name="Espace réservé de la date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128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tercalai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918000" cy="690411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6" name="Espace réservé de la date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393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ercalai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-1"/>
            <a:ext cx="9907588" cy="6858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AutoShape 4" descr="Résultat de recherche d'images pour &quot;automate picture&quot;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8" name="AutoShape 6" descr="https://www.elmnet.co.uk/wp-content/uploads/2017/08/automate.jpg"/>
          <p:cNvSpPr>
            <a:spLocks noChangeAspect="1" noChangeArrowheads="1"/>
          </p:cNvSpPr>
          <p:nvPr userDrawn="1"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42"/>
            <a:ext cx="784624" cy="5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12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906000" cy="690411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solidFill>
            <a:schemeClr val="accent1"/>
          </a:solidFill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42"/>
            <a:ext cx="784624" cy="53222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1182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9906000" cy="685799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solidFill>
            <a:schemeClr val="accent1"/>
          </a:solidFill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42"/>
            <a:ext cx="784624" cy="53222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942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Résultat de recherche d'images pour &quot;database wallpaper&quot;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85" b="4348"/>
          <a:stretch/>
        </p:blipFill>
        <p:spPr bwMode="auto">
          <a:xfrm>
            <a:off x="0" y="-1"/>
            <a:ext cx="9906000" cy="68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solidFill>
            <a:schemeClr val="accent1"/>
          </a:solidFill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86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cal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terne - DIG - Présentation Outils BU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162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calai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able Placeholder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"/>
            <a:ext cx="9906000" cy="6857999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terne - DIG - Présentation Outils BU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42"/>
            <a:ext cx="784624" cy="532227"/>
          </a:xfrm>
          <a:prstGeom prst="rect">
            <a:avLst/>
          </a:prstGeom>
        </p:spPr>
      </p:pic>
      <p:sp>
        <p:nvSpPr>
          <p:cNvPr id="6" name="Espace réservé de la date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056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Résultat de recherche d'images pour &quot;tools picture&quot;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906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416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13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188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Résultat de recherche d'images pour &quot;learning picture&quot;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08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Résultat de recherche d'images pour &quot;construction picture&quot;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2"/>
            <a:ext cx="9911321" cy="6858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5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Résultat de recherche d'images pour &quot;conclusion pictures&quot;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929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55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Résultat de recherche d'images pour &quot;map compass picture&quot;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51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0"/>
            <a:ext cx="3671688" cy="6858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76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ercalai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Résultat de recherche d'images pour &quot;monitoring picture&quot;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"/>
          <a:stretch/>
        </p:blipFill>
        <p:spPr bwMode="auto">
          <a:xfrm>
            <a:off x="0" y="0"/>
            <a:ext cx="9900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0"/>
            <a:ext cx="3671688" cy="6858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89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34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92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432" y="540213"/>
            <a:ext cx="8614721" cy="443198"/>
          </a:xfrm>
        </p:spPr>
        <p:txBody>
          <a:bodyPr tIns="0" bIns="0" anchor="b">
            <a:sp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2" y="1638299"/>
            <a:ext cx="8614721" cy="484032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619126" y="987228"/>
            <a:ext cx="8615028" cy="651072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FontTx/>
              <a:buNone/>
              <a:defRPr sz="2200" b="1" i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48531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68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SÉRER ICI LE TITRE DE VOTRE PRÉSENTATION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AF52A2-F75A-4940-9AD6-D5031E7C29D7}" type="slidenum">
              <a:rPr lang="fr-FR" smtClean="0">
                <a:solidFill>
                  <a:srgbClr val="FFFFFF"/>
                </a:solidFill>
              </a:rPr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630863" y="917918"/>
            <a:ext cx="8614737" cy="6096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>
                <a:solidFill>
                  <a:srgbClr val="303F48"/>
                </a:solidFill>
              </a:defRPr>
            </a:lvl1pPr>
            <a:lvl2pPr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pt-PT"/>
              <a:t>Cliquez pour ajouter du texte</a:t>
            </a:r>
          </a:p>
        </p:txBody>
      </p:sp>
      <p:sp>
        <p:nvSpPr>
          <p:cNvPr id="11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630862" y="1534510"/>
            <a:ext cx="8602037" cy="48250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Choisir la classification du document : Public, Interne ou Confidentiel</a:t>
            </a:r>
          </a:p>
        </p:txBody>
      </p:sp>
    </p:spTree>
    <p:extLst>
      <p:ext uri="{BB962C8B-B14F-4D97-AF65-F5344CB8AC3E}">
        <p14:creationId xmlns:p14="http://schemas.microsoft.com/office/powerpoint/2010/main" val="398293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Rectangle 34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4644" y="6453336"/>
            <a:ext cx="7644475" cy="246510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fr-FR"/>
              <a:t>M020-02 Revue Qualité DIG 2016 V0.2</a:t>
            </a: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pPr>
              <a:defRPr/>
            </a:pPr>
            <a:fld id="{8ABC9975-821D-4EB4-B2A9-344FC2C4C635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76481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5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5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70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660797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Cover ">
    <p:bg>
      <p:bgPr>
        <a:solidFill>
          <a:srgbClr val="222C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2290763" y="1464240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97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1097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F66D9963-BDB2-4715-A1D1-F4032037AA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59078" y="1315988"/>
            <a:ext cx="913210" cy="112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632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97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tx2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1097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61033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215033" y="1669252"/>
            <a:ext cx="5130998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troduction</a:t>
            </a: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" name="object 4">
            <a:extLst>
              <a:ext uri="{FF2B5EF4-FFF2-40B4-BE49-F238E27FC236}">
                <a16:creationId xmlns:a16="http://schemas.microsoft.com/office/drawing/2014/main" id="{D3C0EACF-3AD5-4884-9531-06FDA14E14F3}"/>
              </a:ext>
            </a:extLst>
          </p:cNvPr>
          <p:cNvSpPr/>
          <p:nvPr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8F84A533-D15F-4251-B825-30C4967127B7}"/>
              </a:ext>
            </a:extLst>
          </p:cNvPr>
          <p:cNvSpPr/>
          <p:nvPr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5815314C-9423-41A5-BEA4-E339EE8896AB}"/>
              </a:ext>
            </a:extLst>
          </p:cNvPr>
          <p:cNvSpPr/>
          <p:nvPr/>
        </p:nvSpPr>
        <p:spPr>
          <a:xfrm>
            <a:off x="8791576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1E59CB-5F39-462D-B61D-4A4C7D89DC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5033" y="2227417"/>
            <a:ext cx="5130998" cy="182985"/>
          </a:xfrm>
        </p:spPr>
        <p:txBody>
          <a:bodyPr wrap="square" tIns="14400">
            <a:spAutoFit/>
          </a:bodyPr>
          <a:lstStyle>
            <a:lvl1pPr>
              <a:spcBef>
                <a:spcPts val="0"/>
              </a:spcBef>
              <a:defRPr sz="1097">
                <a:solidFill>
                  <a:schemeClr val="accent3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43F9D-3345-4E29-AB08-377E0B10E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53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3" name="Text Placeholder 31">
            <a:extLst>
              <a:ext uri="{FF2B5EF4-FFF2-40B4-BE49-F238E27FC236}">
                <a16:creationId xmlns:a16="http://schemas.microsoft.com/office/drawing/2014/main" id="{3511C7BF-3840-4CE8-BB5B-C7B08391350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37088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14" name="Text Placeholder 18">
            <a:extLst>
              <a:ext uri="{FF2B5EF4-FFF2-40B4-BE49-F238E27FC236}">
                <a16:creationId xmlns:a16="http://schemas.microsoft.com/office/drawing/2014/main" id="{EFD58F2A-B07B-4D2B-8951-E00DDA67D76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802040" y="4133653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5" name="Text Placeholder 18">
            <a:extLst>
              <a:ext uri="{FF2B5EF4-FFF2-40B4-BE49-F238E27FC236}">
                <a16:creationId xmlns:a16="http://schemas.microsoft.com/office/drawing/2014/main" id="{A3AA694F-FB48-41A8-B07B-EC1F3B40C39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802040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0" name="Text Placeholder 18">
            <a:extLst>
              <a:ext uri="{FF2B5EF4-FFF2-40B4-BE49-F238E27FC236}">
                <a16:creationId xmlns:a16="http://schemas.microsoft.com/office/drawing/2014/main" id="{8465A35D-EC66-40E8-80CC-6934147C890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837254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3" name="Text Placeholder 31">
            <a:extLst>
              <a:ext uri="{FF2B5EF4-FFF2-40B4-BE49-F238E27FC236}">
                <a16:creationId xmlns:a16="http://schemas.microsoft.com/office/drawing/2014/main" id="{F5A26CFA-C26B-4F48-AFCC-68C933599A6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7212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4" name="Text Placeholder 18">
            <a:extLst>
              <a:ext uri="{FF2B5EF4-FFF2-40B4-BE49-F238E27FC236}">
                <a16:creationId xmlns:a16="http://schemas.microsoft.com/office/drawing/2014/main" id="{248854A8-0EED-4EC1-81BB-9B97B87D848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122165" y="4133653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5" name="Text Placeholder 18">
            <a:extLst>
              <a:ext uri="{FF2B5EF4-FFF2-40B4-BE49-F238E27FC236}">
                <a16:creationId xmlns:a16="http://schemas.microsoft.com/office/drawing/2014/main" id="{FF847E46-100F-4B85-ABC9-C63CBCF3D74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122165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6" name="Text Placeholder 18">
            <a:extLst>
              <a:ext uri="{FF2B5EF4-FFF2-40B4-BE49-F238E27FC236}">
                <a16:creationId xmlns:a16="http://schemas.microsoft.com/office/drawing/2014/main" id="{1EDAB9D3-F6BE-48C5-94F8-F0CEB0166F3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57378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7" name="Text Placeholder 31">
            <a:extLst>
              <a:ext uri="{FF2B5EF4-FFF2-40B4-BE49-F238E27FC236}">
                <a16:creationId xmlns:a16="http://schemas.microsoft.com/office/drawing/2014/main" id="{6FFEF1B8-6626-4B8C-86D2-FD64ECC7E0E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8" name="Text Placeholder 18">
            <a:extLst>
              <a:ext uri="{FF2B5EF4-FFF2-40B4-BE49-F238E27FC236}">
                <a16:creationId xmlns:a16="http://schemas.microsoft.com/office/drawing/2014/main" id="{5F1270D3-9E35-4323-99FB-4AA40123E72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59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9" name="Text Placeholder 18">
            <a:extLst>
              <a:ext uri="{FF2B5EF4-FFF2-40B4-BE49-F238E27FC236}">
                <a16:creationId xmlns:a16="http://schemas.microsoft.com/office/drawing/2014/main" id="{1C93CA53-2F3D-4CA4-A60D-15B2C8F9278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5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0" name="Text Placeholder 18">
            <a:extLst>
              <a:ext uri="{FF2B5EF4-FFF2-40B4-BE49-F238E27FC236}">
                <a16:creationId xmlns:a16="http://schemas.microsoft.com/office/drawing/2014/main" id="{93C6D7CE-3B53-4781-9604-D0FE8BEF0B5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1" name="Text Placeholder 31">
            <a:extLst>
              <a:ext uri="{FF2B5EF4-FFF2-40B4-BE49-F238E27FC236}">
                <a16:creationId xmlns:a16="http://schemas.microsoft.com/office/drawing/2014/main" id="{F09C8D30-46AD-4E01-B69D-ECF0E9639720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2" name="Text Placeholder 18">
            <a:extLst>
              <a:ext uri="{FF2B5EF4-FFF2-40B4-BE49-F238E27FC236}">
                <a16:creationId xmlns:a16="http://schemas.microsoft.com/office/drawing/2014/main" id="{6BBF8358-0312-4476-A379-4092F5096A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0" y="170559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131FAF0A-F8E5-4E88-BBC2-856B2610CB5C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DF585C99-0360-4056-A9DA-37C046EC20F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2D049B-FF10-4FE9-B55A-5E1428FB2026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1" name="Titre 3">
            <a:extLst>
              <a:ext uri="{FF2B5EF4-FFF2-40B4-BE49-F238E27FC236}">
                <a16:creationId xmlns:a16="http://schemas.microsoft.com/office/drawing/2014/main" id="{AE0B397F-537F-475A-B197-1EC9819F9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6880725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2" name="Text Placeholder 31">
            <a:extLst>
              <a:ext uri="{FF2B5EF4-FFF2-40B4-BE49-F238E27FC236}">
                <a16:creationId xmlns:a16="http://schemas.microsoft.com/office/drawing/2014/main" id="{7EC72E04-62A6-456D-9129-8BFC76A3EA7B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3" name="Text Placeholder 18">
            <a:extLst>
              <a:ext uri="{FF2B5EF4-FFF2-40B4-BE49-F238E27FC236}">
                <a16:creationId xmlns:a16="http://schemas.microsoft.com/office/drawing/2014/main" id="{75D73ABA-CA4C-4758-A70B-18788A7152E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59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4" name="Text Placeholder 18">
            <a:extLst>
              <a:ext uri="{FF2B5EF4-FFF2-40B4-BE49-F238E27FC236}">
                <a16:creationId xmlns:a16="http://schemas.microsoft.com/office/drawing/2014/main" id="{46C41AE2-59D8-4B49-848B-EA4CBB402683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5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5" name="Text Placeholder 18">
            <a:extLst>
              <a:ext uri="{FF2B5EF4-FFF2-40B4-BE49-F238E27FC236}">
                <a16:creationId xmlns:a16="http://schemas.microsoft.com/office/drawing/2014/main" id="{2220B1D5-71D2-48C3-A929-898FF8C1F57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06" name="Text Placeholder 31">
            <a:extLst>
              <a:ext uri="{FF2B5EF4-FFF2-40B4-BE49-F238E27FC236}">
                <a16:creationId xmlns:a16="http://schemas.microsoft.com/office/drawing/2014/main" id="{E2D825A0-520D-4092-8235-41A32121B04E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7" name="Text Placeholder 18">
            <a:extLst>
              <a:ext uri="{FF2B5EF4-FFF2-40B4-BE49-F238E27FC236}">
                <a16:creationId xmlns:a16="http://schemas.microsoft.com/office/drawing/2014/main" id="{22E612C7-1A1F-493A-8A38-C03F18CC687E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24441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8" name="Text Placeholder 18">
            <a:extLst>
              <a:ext uri="{FF2B5EF4-FFF2-40B4-BE49-F238E27FC236}">
                <a16:creationId xmlns:a16="http://schemas.microsoft.com/office/drawing/2014/main" id="{649F1CE4-C3CE-4985-AD3E-FC4A4AC0C2B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5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9" name="Text Placeholder 18">
            <a:extLst>
              <a:ext uri="{FF2B5EF4-FFF2-40B4-BE49-F238E27FC236}">
                <a16:creationId xmlns:a16="http://schemas.microsoft.com/office/drawing/2014/main" id="{CB3A685A-DB20-4E5A-9F48-2108FDDDF82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5" name="Text Placeholder 31">
            <a:extLst>
              <a:ext uri="{FF2B5EF4-FFF2-40B4-BE49-F238E27FC236}">
                <a16:creationId xmlns:a16="http://schemas.microsoft.com/office/drawing/2014/main" id="{FB61BDCE-020E-4BCF-9B3C-320CC2C9B7A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26" name="Text Placeholder 18">
            <a:extLst>
              <a:ext uri="{FF2B5EF4-FFF2-40B4-BE49-F238E27FC236}">
                <a16:creationId xmlns:a16="http://schemas.microsoft.com/office/drawing/2014/main" id="{13C2CDE7-3771-468A-A640-29AA16C285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0" y="170559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27" name="Text Placeholder 18">
            <a:extLst>
              <a:ext uri="{FF2B5EF4-FFF2-40B4-BE49-F238E27FC236}">
                <a16:creationId xmlns:a16="http://schemas.microsoft.com/office/drawing/2014/main" id="{831093BB-2135-4302-AD17-917734EC88A6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28" name="Text Placeholder 18">
            <a:extLst>
              <a:ext uri="{FF2B5EF4-FFF2-40B4-BE49-F238E27FC236}">
                <a16:creationId xmlns:a16="http://schemas.microsoft.com/office/drawing/2014/main" id="{EF93369E-2C3E-4EE7-8D1D-99C239A339E3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9" name="Text Placeholder 31">
            <a:extLst>
              <a:ext uri="{FF2B5EF4-FFF2-40B4-BE49-F238E27FC236}">
                <a16:creationId xmlns:a16="http://schemas.microsoft.com/office/drawing/2014/main" id="{C287AF80-AE6B-424F-8FDB-B11EF6A13FB2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1" name="Text Placeholder 18">
            <a:extLst>
              <a:ext uri="{FF2B5EF4-FFF2-40B4-BE49-F238E27FC236}">
                <a16:creationId xmlns:a16="http://schemas.microsoft.com/office/drawing/2014/main" id="{61424F3E-758A-41A8-BED0-46CF7C78F3D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0" y="324441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2" name="Text Placeholder 18">
            <a:extLst>
              <a:ext uri="{FF2B5EF4-FFF2-40B4-BE49-F238E27FC236}">
                <a16:creationId xmlns:a16="http://schemas.microsoft.com/office/drawing/2014/main" id="{C48A6046-5F7C-45C3-832A-2C969ACC9C87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7" name="Text Placeholder 18">
            <a:extLst>
              <a:ext uri="{FF2B5EF4-FFF2-40B4-BE49-F238E27FC236}">
                <a16:creationId xmlns:a16="http://schemas.microsoft.com/office/drawing/2014/main" id="{27D74F4C-9A89-4C62-9FBF-A53BF21FC90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2" name="Text Placeholder 31">
            <a:extLst>
              <a:ext uri="{FF2B5EF4-FFF2-40B4-BE49-F238E27FC236}">
                <a16:creationId xmlns:a16="http://schemas.microsoft.com/office/drawing/2014/main" id="{BD95E687-7F93-472F-98D4-EC938AA6550F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025B0146-CB38-42F3-839F-A26A6143E0F2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4783236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A284474C-E457-4B47-BD17-F5D8229E4172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5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5" name="Text Placeholder 18">
            <a:extLst>
              <a:ext uri="{FF2B5EF4-FFF2-40B4-BE49-F238E27FC236}">
                <a16:creationId xmlns:a16="http://schemas.microsoft.com/office/drawing/2014/main" id="{BD29F203-3EED-448C-9A44-6A9AF6E4D1AE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6" name="Text Placeholder 31">
            <a:extLst>
              <a:ext uri="{FF2B5EF4-FFF2-40B4-BE49-F238E27FC236}">
                <a16:creationId xmlns:a16="http://schemas.microsoft.com/office/drawing/2014/main" id="{37A450F0-202F-4585-8D10-F0C9C63E8342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7" name="Text Placeholder 18">
            <a:extLst>
              <a:ext uri="{FF2B5EF4-FFF2-40B4-BE49-F238E27FC236}">
                <a16:creationId xmlns:a16="http://schemas.microsoft.com/office/drawing/2014/main" id="{F15D7F17-C51A-401A-B45B-C0DD68E1A185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0" y="4783236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8" name="Text Placeholder 18">
            <a:extLst>
              <a:ext uri="{FF2B5EF4-FFF2-40B4-BE49-F238E27FC236}">
                <a16:creationId xmlns:a16="http://schemas.microsoft.com/office/drawing/2014/main" id="{EA613244-6AF1-4BED-B339-59144E1E2378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9" name="Text Placeholder 18">
            <a:extLst>
              <a:ext uri="{FF2B5EF4-FFF2-40B4-BE49-F238E27FC236}">
                <a16:creationId xmlns:a16="http://schemas.microsoft.com/office/drawing/2014/main" id="{015CB9AD-585C-4445-80B0-B9C7F59AD015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4F7EFA-6F22-4F7A-86D6-B9B9EFDEBF45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" name="Titre 3">
            <a:extLst>
              <a:ext uri="{FF2B5EF4-FFF2-40B4-BE49-F238E27FC236}">
                <a16:creationId xmlns:a16="http://schemas.microsoft.com/office/drawing/2014/main" id="{EC744315-8B20-4BBE-A882-04AFDA114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036211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28FBECDA-E756-436B-A2DF-561D7CBEB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7212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D29DD076-5F15-437B-BFD1-4316097E0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2165" y="170834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1" name="Text Placeholder 18">
            <a:extLst>
              <a:ext uri="{FF2B5EF4-FFF2-40B4-BE49-F238E27FC236}">
                <a16:creationId xmlns:a16="http://schemas.microsoft.com/office/drawing/2014/main" id="{2B1B91FE-791C-486B-BB38-16A0BC617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2165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1AD460FF-7D8C-43FC-A584-F7A2A0070B2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57378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6196209E-A760-418E-ABA2-4DD925C316F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6316DC73-28D4-4F73-B949-6F6F5D61C2F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2668416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E6BEF16F-6B19-411C-B67C-B5AA0800E01A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5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6" name="Text Placeholder 18">
            <a:extLst>
              <a:ext uri="{FF2B5EF4-FFF2-40B4-BE49-F238E27FC236}">
                <a16:creationId xmlns:a16="http://schemas.microsoft.com/office/drawing/2014/main" id="{898B7DDA-82C5-4103-8C26-5F9811B20C9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7DA447D7-A877-45B8-B6FB-AE90751E8876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8" name="Text Placeholder 18">
            <a:extLst>
              <a:ext uri="{FF2B5EF4-FFF2-40B4-BE49-F238E27FC236}">
                <a16:creationId xmlns:a16="http://schemas.microsoft.com/office/drawing/2014/main" id="{CFE91535-724D-49F0-92FE-8CAB5C480A1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62602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3D27B957-835E-4BF0-9537-A1AC3D952B2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5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0" name="Text Placeholder 18">
            <a:extLst>
              <a:ext uri="{FF2B5EF4-FFF2-40B4-BE49-F238E27FC236}">
                <a16:creationId xmlns:a16="http://schemas.microsoft.com/office/drawing/2014/main" id="{F84C2754-E4E9-4354-B6CB-7B5B7AA5A828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8C74BB45-5D6F-48E6-9347-96EE0CC93A2A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57212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2" name="Text Placeholder 18">
            <a:extLst>
              <a:ext uri="{FF2B5EF4-FFF2-40B4-BE49-F238E27FC236}">
                <a16:creationId xmlns:a16="http://schemas.microsoft.com/office/drawing/2014/main" id="{BCD1C6AA-1F9C-4210-9D36-274FD1A6AE79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1122165" y="458363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3" name="Text Placeholder 18">
            <a:extLst>
              <a:ext uri="{FF2B5EF4-FFF2-40B4-BE49-F238E27FC236}">
                <a16:creationId xmlns:a16="http://schemas.microsoft.com/office/drawing/2014/main" id="{D180E97C-CAF1-4493-AD31-C1A8E60EAEF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122165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4" name="Text Placeholder 18">
            <a:extLst>
              <a:ext uri="{FF2B5EF4-FFF2-40B4-BE49-F238E27FC236}">
                <a16:creationId xmlns:a16="http://schemas.microsoft.com/office/drawing/2014/main" id="{7FE91E81-87F3-42A4-9446-8670F0C28A15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157378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5" name="Text Placeholder 31">
            <a:extLst>
              <a:ext uri="{FF2B5EF4-FFF2-40B4-BE49-F238E27FC236}">
                <a16:creationId xmlns:a16="http://schemas.microsoft.com/office/drawing/2014/main" id="{EDFC2B06-95E3-4B46-9D78-C5B889187574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237088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6" name="Text Placeholder 18">
            <a:extLst>
              <a:ext uri="{FF2B5EF4-FFF2-40B4-BE49-F238E27FC236}">
                <a16:creationId xmlns:a16="http://schemas.microsoft.com/office/drawing/2014/main" id="{5C8CF654-7CDC-4671-BA3F-6E43C2F3D930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802040" y="170834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7" name="Text Placeholder 18">
            <a:extLst>
              <a:ext uri="{FF2B5EF4-FFF2-40B4-BE49-F238E27FC236}">
                <a16:creationId xmlns:a16="http://schemas.microsoft.com/office/drawing/2014/main" id="{AA689F23-6793-46A5-BC3A-C3C394EB61B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802040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8" name="Text Placeholder 18">
            <a:extLst>
              <a:ext uri="{FF2B5EF4-FFF2-40B4-BE49-F238E27FC236}">
                <a16:creationId xmlns:a16="http://schemas.microsoft.com/office/drawing/2014/main" id="{ED61CF7D-5129-427A-9E6A-C2D5A0108EF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3" name="Text Placeholder 18">
            <a:extLst>
              <a:ext uri="{FF2B5EF4-FFF2-40B4-BE49-F238E27FC236}">
                <a16:creationId xmlns:a16="http://schemas.microsoft.com/office/drawing/2014/main" id="{C7919060-BAE1-42EF-8A05-3D8F26EC8E7B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4" name="Text Placeholder 31">
            <a:extLst>
              <a:ext uri="{FF2B5EF4-FFF2-40B4-BE49-F238E27FC236}">
                <a16:creationId xmlns:a16="http://schemas.microsoft.com/office/drawing/2014/main" id="{DA0FFCE8-6B8A-4E0A-9547-C340275471AA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85" name="Text Placeholder 18">
            <a:extLst>
              <a:ext uri="{FF2B5EF4-FFF2-40B4-BE49-F238E27FC236}">
                <a16:creationId xmlns:a16="http://schemas.microsoft.com/office/drawing/2014/main" id="{B46C006F-C71D-4DE1-A056-5B3A93CF50D9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0" y="2668416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C3771224-2466-4D8A-A811-964F73AA6409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89" name="Text Placeholder 18">
            <a:extLst>
              <a:ext uri="{FF2B5EF4-FFF2-40B4-BE49-F238E27FC236}">
                <a16:creationId xmlns:a16="http://schemas.microsoft.com/office/drawing/2014/main" id="{76FE5254-0432-4E51-B71F-918A5A083FA8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0" name="Text Placeholder 31">
            <a:extLst>
              <a:ext uri="{FF2B5EF4-FFF2-40B4-BE49-F238E27FC236}">
                <a16:creationId xmlns:a16="http://schemas.microsoft.com/office/drawing/2014/main" id="{77CAFDB0-A524-4811-9A5F-832074D34A45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1" name="Text Placeholder 18">
            <a:extLst>
              <a:ext uri="{FF2B5EF4-FFF2-40B4-BE49-F238E27FC236}">
                <a16:creationId xmlns:a16="http://schemas.microsoft.com/office/drawing/2014/main" id="{2F7D0EC5-CECB-4014-B06D-B2DBCBFBBF3D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0" y="362602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2" name="Text Placeholder 18">
            <a:extLst>
              <a:ext uri="{FF2B5EF4-FFF2-40B4-BE49-F238E27FC236}">
                <a16:creationId xmlns:a16="http://schemas.microsoft.com/office/drawing/2014/main" id="{8751CD9A-A0F4-4CC8-8C88-10310AE524D6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3" name="Text Placeholder 18">
            <a:extLst>
              <a:ext uri="{FF2B5EF4-FFF2-40B4-BE49-F238E27FC236}">
                <a16:creationId xmlns:a16="http://schemas.microsoft.com/office/drawing/2014/main" id="{26FADFFE-C225-4705-860D-DF5D47B6C04F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4" name="Text Placeholder 31">
            <a:extLst>
              <a:ext uri="{FF2B5EF4-FFF2-40B4-BE49-F238E27FC236}">
                <a16:creationId xmlns:a16="http://schemas.microsoft.com/office/drawing/2014/main" id="{ED08C253-1799-4939-89C2-67FE0903595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5237088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5" name="Text Placeholder 18">
            <a:extLst>
              <a:ext uri="{FF2B5EF4-FFF2-40B4-BE49-F238E27FC236}">
                <a16:creationId xmlns:a16="http://schemas.microsoft.com/office/drawing/2014/main" id="{BA8F5A1C-3DDB-4EB6-A07B-B7ACBC8A5ACC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5802040" y="458363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6" name="Text Placeholder 18">
            <a:extLst>
              <a:ext uri="{FF2B5EF4-FFF2-40B4-BE49-F238E27FC236}">
                <a16:creationId xmlns:a16="http://schemas.microsoft.com/office/drawing/2014/main" id="{C6330ADC-D7C7-4EFD-8348-FF37C7A173BC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5802040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7" name="Text Placeholder 18">
            <a:extLst>
              <a:ext uri="{FF2B5EF4-FFF2-40B4-BE49-F238E27FC236}">
                <a16:creationId xmlns:a16="http://schemas.microsoft.com/office/drawing/2014/main" id="{81AE0480-C514-4AD9-8691-694E141EE29E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8837254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9" name="Text Placeholder 31">
            <a:extLst>
              <a:ext uri="{FF2B5EF4-FFF2-40B4-BE49-F238E27FC236}">
                <a16:creationId xmlns:a16="http://schemas.microsoft.com/office/drawing/2014/main" id="{7268FDA8-F92E-4936-B990-FD4E9F0CC01D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37FDC6EC-A640-488F-9644-3FDD22493BD3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5540801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1873EAFB-A062-4833-B06F-62FD2E7C3DF9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5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2" name="Text Placeholder 18">
            <a:extLst>
              <a:ext uri="{FF2B5EF4-FFF2-40B4-BE49-F238E27FC236}">
                <a16:creationId xmlns:a16="http://schemas.microsoft.com/office/drawing/2014/main" id="{EE221A43-C270-4544-94DF-1ABABF451BBD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3" name="Text Placeholder 31">
            <a:extLst>
              <a:ext uri="{FF2B5EF4-FFF2-40B4-BE49-F238E27FC236}">
                <a16:creationId xmlns:a16="http://schemas.microsoft.com/office/drawing/2014/main" id="{9D8E4515-6F96-4F02-B988-811445E2351C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A17A929F-E044-48C5-9DD8-B47C3EF2AE1C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0" y="5540801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5D5ECF6A-91FB-4513-9425-F01C4C10BAB1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2F7DB677-C811-448B-9E9D-A05B83375084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3DF68-D79F-4DB1-B4FD-A39341DF1E94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7" name="Titre 3">
            <a:extLst>
              <a:ext uri="{FF2B5EF4-FFF2-40B4-BE49-F238E27FC236}">
                <a16:creationId xmlns:a16="http://schemas.microsoft.com/office/drawing/2014/main" id="{44057687-C51E-48EF-8ABC-CF8D8466D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4017696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2" y="1638299"/>
            <a:ext cx="4533481" cy="4840321"/>
          </a:xfrm>
        </p:spPr>
        <p:txBody>
          <a:bodyPr/>
          <a:lstStyle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619126" y="987228"/>
            <a:ext cx="8615028" cy="651072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FontTx/>
              <a:buNone/>
              <a:defRPr sz="2200" b="1" i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314950" y="1638300"/>
            <a:ext cx="4119563" cy="439737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9432" y="540213"/>
            <a:ext cx="8614721" cy="443198"/>
          </a:xfrm>
        </p:spPr>
        <p:txBody>
          <a:bodyPr tIns="0" bIns="0" anchor="b">
            <a:sp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12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_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4" y="485445"/>
            <a:ext cx="1114424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rgbClr val="005473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79308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3311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tx2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2" name="Holder 2">
            <a:extLst>
              <a:ext uri="{FF2B5EF4-FFF2-40B4-BE49-F238E27FC236}">
                <a16:creationId xmlns:a16="http://schemas.microsoft.com/office/drawing/2014/main" id="{85B5B0C2-1E62-4343-9450-2B0AC120F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43129-780B-4E39-9EAF-CD2ED887D3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81636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Sub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4" y="485445"/>
            <a:ext cx="1114424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/>
        </p:nvSpPr>
        <p:spPr>
          <a:xfrm>
            <a:off x="8791576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148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/>
        </p:nvSpPr>
        <p:spPr>
          <a:xfrm>
            <a:off x="8791576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20445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older 2">
            <a:extLst>
              <a:ext uri="{FF2B5EF4-FFF2-40B4-BE49-F238E27FC236}">
                <a16:creationId xmlns:a16="http://schemas.microsoft.com/office/drawing/2014/main" id="{76858CF1-1FE0-48C5-9C43-47EFD7F92F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1ABED16D-E05F-4052-AFDC-7D0B069E48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B56387-D400-4873-990C-66F86EBA3E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9EE1458B-1ACC-4A60-A6DA-3A183AD4A703}"/>
              </a:ext>
            </a:extLst>
          </p:cNvPr>
          <p:cNvSpPr/>
          <p:nvPr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14AF817-4FA3-4511-BF85-552078C6E679}"/>
              </a:ext>
            </a:extLst>
          </p:cNvPr>
          <p:cNvSpPr/>
          <p:nvPr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C87F872C-9C1D-4419-83CD-C89DB3A9AD0E}"/>
              </a:ext>
            </a:extLst>
          </p:cNvPr>
          <p:cNvSpPr/>
          <p:nvPr/>
        </p:nvSpPr>
        <p:spPr>
          <a:xfrm>
            <a:off x="8791576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</p:spTree>
    <p:extLst>
      <p:ext uri="{BB962C8B-B14F-4D97-AF65-F5344CB8AC3E}">
        <p14:creationId xmlns:p14="http://schemas.microsoft.com/office/powerpoint/2010/main" val="34901865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01520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372477"/>
          </a:xfrm>
        </p:spPr>
        <p:txBody>
          <a:bodyPr wrap="square">
            <a:spAutoFit/>
          </a:bodyPr>
          <a:lstStyle>
            <a:lvl1pPr marL="110281" indent="-120656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0" indent="-120656">
              <a:buFont typeface="Wingdings" panose="05000000000000000000" pitchFamily="2" charset="2"/>
              <a:buChar char="§"/>
              <a:defRPr/>
            </a:lvl2pPr>
            <a:lvl3pPr marL="241313" indent="-119956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25" indent="-109688">
              <a:defRPr sz="914">
                <a:solidFill>
                  <a:schemeClr val="tx2"/>
                </a:solidFill>
              </a:defRPr>
            </a:lvl4pPr>
            <a:lvl5pPr marL="372938" indent="-120656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26842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2" y="1989474"/>
            <a:ext cx="4039791" cy="1422106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146CF11-ED2C-4591-88BE-369AC6EB33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23868" y="1989474"/>
            <a:ext cx="4039791" cy="1422106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2ED684-1935-43C9-97F6-7524175924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23548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4" y="1989474"/>
            <a:ext cx="2566789" cy="1422106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832D763-A691-4EC4-9C13-3AFE8C77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65736" y="1989474"/>
            <a:ext cx="2566789" cy="1422106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32815573-BF96-4315-998A-9A2D6B6189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1996" y="1989474"/>
            <a:ext cx="2566789" cy="1422106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7E27E1-2C18-42F3-914E-B1AF02DA0F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2849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2" y="1638299"/>
            <a:ext cx="4533481" cy="4840321"/>
          </a:xfrm>
        </p:spPr>
        <p:txBody>
          <a:bodyPr/>
          <a:lstStyle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619126" y="987228"/>
            <a:ext cx="8615028" cy="651072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FontTx/>
              <a:buNone/>
              <a:defRPr sz="2200" b="1" i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9432" y="540213"/>
            <a:ext cx="8614721" cy="443198"/>
          </a:xfrm>
        </p:spPr>
        <p:txBody>
          <a:bodyPr tIns="0" bIns="0" anchor="b">
            <a:sp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15"/>
          </p:nvPr>
        </p:nvSpPr>
        <p:spPr>
          <a:xfrm>
            <a:off x="5314950" y="1648028"/>
            <a:ext cx="4119563" cy="4397375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02141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48C2F0-8F0D-4C02-9F19-6DF2108E0F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61672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A6FBA34-91D9-42CD-A3FE-DC53ABE99F6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31606" y="2057400"/>
            <a:ext cx="4117181" cy="4102899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4" y="697702"/>
            <a:ext cx="756106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4" y="1989474"/>
            <a:ext cx="4039791" cy="1422106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BF8A56-100E-4902-968B-3CDFE43D67D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35818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5755A9E-B5F9-42B8-A663-09F0B19A19E0}"/>
              </a:ext>
            </a:extLst>
          </p:cNvPr>
          <p:cNvSpPr/>
          <p:nvPr/>
        </p:nvSpPr>
        <p:spPr>
          <a:xfrm>
            <a:off x="0" y="0"/>
            <a:ext cx="32194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7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3DC93F4-A945-42B6-9692-126B44277D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3219450" cy="6857999"/>
          </a:xfrm>
          <a:custGeom>
            <a:avLst/>
            <a:gdLst>
              <a:gd name="connsiteX0" fmla="*/ 0 w 5283200"/>
              <a:gd name="connsiteY0" fmla="*/ 0 h 9143998"/>
              <a:gd name="connsiteX1" fmla="*/ 3454400 w 5283200"/>
              <a:gd name="connsiteY1" fmla="*/ 0 h 9143998"/>
              <a:gd name="connsiteX2" fmla="*/ 3454400 w 5283200"/>
              <a:gd name="connsiteY2" fmla="*/ 914400 h 9143998"/>
              <a:gd name="connsiteX3" fmla="*/ 4368800 w 5283200"/>
              <a:gd name="connsiteY3" fmla="*/ 914400 h 9143998"/>
              <a:gd name="connsiteX4" fmla="*/ 4368800 w 5283200"/>
              <a:gd name="connsiteY4" fmla="*/ 1828800 h 9143998"/>
              <a:gd name="connsiteX5" fmla="*/ 5283200 w 5283200"/>
              <a:gd name="connsiteY5" fmla="*/ 1828800 h 9143998"/>
              <a:gd name="connsiteX6" fmla="*/ 5283200 w 5283200"/>
              <a:gd name="connsiteY6" fmla="*/ 9143998 h 9143998"/>
              <a:gd name="connsiteX7" fmla="*/ 0 w 5283200"/>
              <a:gd name="connsiteY7" fmla="*/ 9143998 h 9143998"/>
              <a:gd name="connsiteX8" fmla="*/ 0 w 5283200"/>
              <a:gd name="connsiteY8" fmla="*/ 9143403 h 9143998"/>
              <a:gd name="connsiteX9" fmla="*/ 912533 w 5283200"/>
              <a:gd name="connsiteY9" fmla="*/ 9143403 h 9143998"/>
              <a:gd name="connsiteX10" fmla="*/ 912533 w 5283200"/>
              <a:gd name="connsiteY10" fmla="*/ 8230869 h 9143998"/>
              <a:gd name="connsiteX11" fmla="*/ 0 w 5283200"/>
              <a:gd name="connsiteY11" fmla="*/ 8230869 h 9143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83200" h="9143998">
                <a:moveTo>
                  <a:pt x="0" y="0"/>
                </a:moveTo>
                <a:lnTo>
                  <a:pt x="3454400" y="0"/>
                </a:lnTo>
                <a:lnTo>
                  <a:pt x="3454400" y="914400"/>
                </a:lnTo>
                <a:lnTo>
                  <a:pt x="4368800" y="914400"/>
                </a:lnTo>
                <a:lnTo>
                  <a:pt x="4368800" y="1828800"/>
                </a:lnTo>
                <a:lnTo>
                  <a:pt x="5283200" y="1828800"/>
                </a:lnTo>
                <a:lnTo>
                  <a:pt x="5283200" y="9143998"/>
                </a:lnTo>
                <a:lnTo>
                  <a:pt x="0" y="9143998"/>
                </a:lnTo>
                <a:lnTo>
                  <a:pt x="0" y="9143403"/>
                </a:lnTo>
                <a:lnTo>
                  <a:pt x="912533" y="9143403"/>
                </a:lnTo>
                <a:lnTo>
                  <a:pt x="912533" y="8230869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4" y="697702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22106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7222AF-D59D-4EB8-BA6C-7217DC9168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79949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mage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E4A3B4F-5311-4EE8-988B-706C2D0D244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8000"/>
          </a:xfrm>
          <a:custGeom>
            <a:avLst/>
            <a:gdLst>
              <a:gd name="connsiteX0" fmla="*/ 0 w 5283200"/>
              <a:gd name="connsiteY0" fmla="*/ 0 h 9144000"/>
              <a:gd name="connsiteX1" fmla="*/ 3454400 w 5283200"/>
              <a:gd name="connsiteY1" fmla="*/ 0 h 9144000"/>
              <a:gd name="connsiteX2" fmla="*/ 5283200 w 5283200"/>
              <a:gd name="connsiteY2" fmla="*/ 0 h 9144000"/>
              <a:gd name="connsiteX3" fmla="*/ 5283200 w 5283200"/>
              <a:gd name="connsiteY3" fmla="*/ 1828800 h 9144000"/>
              <a:gd name="connsiteX4" fmla="*/ 5283200 w 5283200"/>
              <a:gd name="connsiteY4" fmla="*/ 3657599 h 9144000"/>
              <a:gd name="connsiteX5" fmla="*/ 4368800 w 5283200"/>
              <a:gd name="connsiteY5" fmla="*/ 3657599 h 9144000"/>
              <a:gd name="connsiteX6" fmla="*/ 4368800 w 5283200"/>
              <a:gd name="connsiteY6" fmla="*/ 4571999 h 9144000"/>
              <a:gd name="connsiteX7" fmla="*/ 3454400 w 5283200"/>
              <a:gd name="connsiteY7" fmla="*/ 4571999 h 9144000"/>
              <a:gd name="connsiteX8" fmla="*/ 3454400 w 5283200"/>
              <a:gd name="connsiteY8" fmla="*/ 5486399 h 9144000"/>
              <a:gd name="connsiteX9" fmla="*/ 4368800 w 5283200"/>
              <a:gd name="connsiteY9" fmla="*/ 5486399 h 9144000"/>
              <a:gd name="connsiteX10" fmla="*/ 4368800 w 5283200"/>
              <a:gd name="connsiteY10" fmla="*/ 4571999 h 9144000"/>
              <a:gd name="connsiteX11" fmla="*/ 5283200 w 5283200"/>
              <a:gd name="connsiteY11" fmla="*/ 4571999 h 9144000"/>
              <a:gd name="connsiteX12" fmla="*/ 5283200 w 5283200"/>
              <a:gd name="connsiteY12" fmla="*/ 9143998 h 9144000"/>
              <a:gd name="connsiteX13" fmla="*/ 5283200 w 5283200"/>
              <a:gd name="connsiteY13" fmla="*/ 9144000 h 9144000"/>
              <a:gd name="connsiteX14" fmla="*/ 0 w 5283200"/>
              <a:gd name="connsiteY14" fmla="*/ 9144000 h 9144000"/>
              <a:gd name="connsiteX15" fmla="*/ 0 w 5283200"/>
              <a:gd name="connsiteY15" fmla="*/ 9143998 h 9144000"/>
              <a:gd name="connsiteX16" fmla="*/ 0 w 5283200"/>
              <a:gd name="connsiteY16" fmla="*/ 9143403 h 9144000"/>
              <a:gd name="connsiteX17" fmla="*/ 0 w 5283200"/>
              <a:gd name="connsiteY17" fmla="*/ 8230869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283200" h="9144000">
                <a:moveTo>
                  <a:pt x="0" y="0"/>
                </a:moveTo>
                <a:lnTo>
                  <a:pt x="3454400" y="0"/>
                </a:lnTo>
                <a:lnTo>
                  <a:pt x="5283200" y="0"/>
                </a:lnTo>
                <a:lnTo>
                  <a:pt x="5283200" y="1828800"/>
                </a:lnTo>
                <a:lnTo>
                  <a:pt x="5283200" y="3657599"/>
                </a:lnTo>
                <a:lnTo>
                  <a:pt x="4368800" y="3657599"/>
                </a:lnTo>
                <a:lnTo>
                  <a:pt x="4368800" y="4571999"/>
                </a:lnTo>
                <a:lnTo>
                  <a:pt x="3454400" y="4571999"/>
                </a:lnTo>
                <a:lnTo>
                  <a:pt x="3454400" y="5486399"/>
                </a:lnTo>
                <a:lnTo>
                  <a:pt x="4368800" y="5486399"/>
                </a:lnTo>
                <a:lnTo>
                  <a:pt x="4368800" y="4571999"/>
                </a:lnTo>
                <a:lnTo>
                  <a:pt x="5283200" y="4571999"/>
                </a:lnTo>
                <a:lnTo>
                  <a:pt x="5283200" y="9143998"/>
                </a:lnTo>
                <a:lnTo>
                  <a:pt x="5283200" y="9144000"/>
                </a:lnTo>
                <a:lnTo>
                  <a:pt x="0" y="9144000"/>
                </a:lnTo>
                <a:lnTo>
                  <a:pt x="0" y="9143998"/>
                </a:lnTo>
                <a:lnTo>
                  <a:pt x="0" y="9143403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4" y="697702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0B7646-0E4D-436E-80FB-4FABC82744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084524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C8E13DE4-5314-44E1-9E54-71B64E53C8D6}"/>
              </a:ext>
            </a:extLst>
          </p:cNvPr>
          <p:cNvSpPr/>
          <p:nvPr/>
        </p:nvSpPr>
        <p:spPr>
          <a:xfrm>
            <a:off x="3219450" y="411480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33876" y="2743201"/>
            <a:ext cx="5014913" cy="3428999"/>
          </a:xfrm>
          <a:solidFill>
            <a:schemeClr val="bg1"/>
          </a:solidFill>
        </p:spPr>
        <p:txBody>
          <a:bodyPr wrap="square" lIns="378000" tIns="39600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pic>
        <p:nvPicPr>
          <p:cNvPr id="5" name="Graphique 30">
            <a:extLst>
              <a:ext uri="{FF2B5EF4-FFF2-40B4-BE49-F238E27FC236}">
                <a16:creationId xmlns:a16="http://schemas.microsoft.com/office/drawing/2014/main" id="{E0424D29-3A81-4B93-B976-4CFAA6EE35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992156-85B6-4A34-BE33-8131FE99998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83552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FC103ADA-D47B-4E9B-AEDE-C787C53F5E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37197" y="3895801"/>
            <a:ext cx="1143447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EF4B44C-FC5F-4865-A2CA-6AD146697A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87416" y="3895801"/>
            <a:ext cx="1143447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132F59FA-5C54-4BEE-A151-61D1A5F550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47991" y="3802008"/>
            <a:ext cx="594604" cy="675798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AF6ED36D-FDAC-4123-A48A-812DD31A9EE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0086" y="3764498"/>
            <a:ext cx="609863" cy="7506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BD0662-49C5-48D6-8BC7-54C5A23568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98643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31C329BC-FFDC-4CD3-ABE4-D824343B7B3C}"/>
              </a:ext>
            </a:extLst>
          </p:cNvPr>
          <p:cNvSpPr/>
          <p:nvPr/>
        </p:nvSpPr>
        <p:spPr>
          <a:xfrm>
            <a:off x="8408713" y="739971"/>
            <a:ext cx="765780" cy="69056"/>
          </a:xfrm>
          <a:custGeom>
            <a:avLst/>
            <a:gdLst/>
            <a:ahLst/>
            <a:cxnLst/>
            <a:rect l="l" t="t" r="r" b="b"/>
            <a:pathLst>
              <a:path w="1256665" h="92075">
                <a:moveTo>
                  <a:pt x="1158062" y="19088"/>
                </a:moveTo>
                <a:lnTo>
                  <a:pt x="1141564" y="19088"/>
                </a:lnTo>
                <a:lnTo>
                  <a:pt x="1164450" y="69951"/>
                </a:lnTo>
                <a:lnTo>
                  <a:pt x="1184147" y="69951"/>
                </a:lnTo>
                <a:lnTo>
                  <a:pt x="1189028" y="58381"/>
                </a:lnTo>
                <a:lnTo>
                  <a:pt x="1174737" y="58381"/>
                </a:lnTo>
                <a:lnTo>
                  <a:pt x="1158062" y="19088"/>
                </a:lnTo>
                <a:close/>
              </a:path>
              <a:path w="1256665" h="92075">
                <a:moveTo>
                  <a:pt x="1214012" y="34544"/>
                </a:moveTo>
                <a:lnTo>
                  <a:pt x="1199083" y="34544"/>
                </a:lnTo>
                <a:lnTo>
                  <a:pt x="1214005" y="69951"/>
                </a:lnTo>
                <a:lnTo>
                  <a:pt x="1233703" y="69951"/>
                </a:lnTo>
                <a:lnTo>
                  <a:pt x="1238949" y="58293"/>
                </a:lnTo>
                <a:lnTo>
                  <a:pt x="1223429" y="58293"/>
                </a:lnTo>
                <a:lnTo>
                  <a:pt x="1214012" y="34544"/>
                </a:lnTo>
                <a:close/>
              </a:path>
              <a:path w="1256665" h="92075">
                <a:moveTo>
                  <a:pt x="1207884" y="19088"/>
                </a:moveTo>
                <a:lnTo>
                  <a:pt x="1190269" y="19088"/>
                </a:lnTo>
                <a:lnTo>
                  <a:pt x="1174737" y="58381"/>
                </a:lnTo>
                <a:lnTo>
                  <a:pt x="1189028" y="58381"/>
                </a:lnTo>
                <a:lnTo>
                  <a:pt x="1199083" y="34544"/>
                </a:lnTo>
                <a:lnTo>
                  <a:pt x="1214012" y="34544"/>
                </a:lnTo>
                <a:lnTo>
                  <a:pt x="1207884" y="19088"/>
                </a:lnTo>
                <a:close/>
              </a:path>
              <a:path w="1256665" h="92075">
                <a:moveTo>
                  <a:pt x="1256588" y="19088"/>
                </a:moveTo>
                <a:lnTo>
                  <a:pt x="1240091" y="19088"/>
                </a:lnTo>
                <a:lnTo>
                  <a:pt x="1223429" y="58293"/>
                </a:lnTo>
                <a:lnTo>
                  <a:pt x="1238949" y="58293"/>
                </a:lnTo>
                <a:lnTo>
                  <a:pt x="1256588" y="19088"/>
                </a:lnTo>
                <a:close/>
              </a:path>
              <a:path w="1256665" h="92075">
                <a:moveTo>
                  <a:pt x="1104366" y="18224"/>
                </a:moveTo>
                <a:lnTo>
                  <a:pt x="1089978" y="19704"/>
                </a:lnTo>
                <a:lnTo>
                  <a:pt x="1078855" y="24364"/>
                </a:lnTo>
                <a:lnTo>
                  <a:pt x="1071680" y="32540"/>
                </a:lnTo>
                <a:lnTo>
                  <a:pt x="1069136" y="44564"/>
                </a:lnTo>
                <a:lnTo>
                  <a:pt x="1071680" y="56531"/>
                </a:lnTo>
                <a:lnTo>
                  <a:pt x="1078855" y="64681"/>
                </a:lnTo>
                <a:lnTo>
                  <a:pt x="1089978" y="69335"/>
                </a:lnTo>
                <a:lnTo>
                  <a:pt x="1104366" y="70815"/>
                </a:lnTo>
                <a:lnTo>
                  <a:pt x="1118724" y="69335"/>
                </a:lnTo>
                <a:lnTo>
                  <a:pt x="1129855" y="64681"/>
                </a:lnTo>
                <a:lnTo>
                  <a:pt x="1135351" y="58458"/>
                </a:lnTo>
                <a:lnTo>
                  <a:pt x="1090637" y="58458"/>
                </a:lnTo>
                <a:lnTo>
                  <a:pt x="1083906" y="55092"/>
                </a:lnTo>
                <a:lnTo>
                  <a:pt x="1083906" y="33934"/>
                </a:lnTo>
                <a:lnTo>
                  <a:pt x="1090637" y="30568"/>
                </a:lnTo>
                <a:lnTo>
                  <a:pt x="1135317" y="30568"/>
                </a:lnTo>
                <a:lnTo>
                  <a:pt x="1129855" y="24364"/>
                </a:lnTo>
                <a:lnTo>
                  <a:pt x="1118724" y="19704"/>
                </a:lnTo>
                <a:lnTo>
                  <a:pt x="1104366" y="18224"/>
                </a:lnTo>
                <a:close/>
              </a:path>
              <a:path w="1256665" h="92075">
                <a:moveTo>
                  <a:pt x="1135317" y="30568"/>
                </a:moveTo>
                <a:lnTo>
                  <a:pt x="1118019" y="30568"/>
                </a:lnTo>
                <a:lnTo>
                  <a:pt x="1124750" y="33934"/>
                </a:lnTo>
                <a:lnTo>
                  <a:pt x="1124750" y="55092"/>
                </a:lnTo>
                <a:lnTo>
                  <a:pt x="1118019" y="58458"/>
                </a:lnTo>
                <a:lnTo>
                  <a:pt x="1135351" y="58458"/>
                </a:lnTo>
                <a:lnTo>
                  <a:pt x="1137052" y="56531"/>
                </a:lnTo>
                <a:lnTo>
                  <a:pt x="1139609" y="44564"/>
                </a:lnTo>
                <a:lnTo>
                  <a:pt x="1137052" y="32540"/>
                </a:lnTo>
                <a:lnTo>
                  <a:pt x="1135317" y="30568"/>
                </a:lnTo>
                <a:close/>
              </a:path>
              <a:path w="1256665" h="92075">
                <a:moveTo>
                  <a:pt x="1058354" y="863"/>
                </a:moveTo>
                <a:lnTo>
                  <a:pt x="1043584" y="863"/>
                </a:lnTo>
                <a:lnTo>
                  <a:pt x="1043584" y="69951"/>
                </a:lnTo>
                <a:lnTo>
                  <a:pt x="1058354" y="69951"/>
                </a:lnTo>
                <a:lnTo>
                  <a:pt x="1058354" y="863"/>
                </a:lnTo>
                <a:close/>
              </a:path>
              <a:path w="1256665" h="92075">
                <a:moveTo>
                  <a:pt x="1011313" y="31432"/>
                </a:moveTo>
                <a:lnTo>
                  <a:pt x="996467" y="31432"/>
                </a:lnTo>
                <a:lnTo>
                  <a:pt x="996467" y="69951"/>
                </a:lnTo>
                <a:lnTo>
                  <a:pt x="1011313" y="69951"/>
                </a:lnTo>
                <a:lnTo>
                  <a:pt x="1011313" y="31432"/>
                </a:lnTo>
                <a:close/>
              </a:path>
              <a:path w="1256665" h="92075">
                <a:moveTo>
                  <a:pt x="1032814" y="19088"/>
                </a:moveTo>
                <a:lnTo>
                  <a:pt x="983081" y="19088"/>
                </a:lnTo>
                <a:lnTo>
                  <a:pt x="983081" y="31432"/>
                </a:lnTo>
                <a:lnTo>
                  <a:pt x="1032814" y="31432"/>
                </a:lnTo>
                <a:lnTo>
                  <a:pt x="1032814" y="19088"/>
                </a:lnTo>
                <a:close/>
              </a:path>
              <a:path w="1256665" h="92075">
                <a:moveTo>
                  <a:pt x="1025296" y="0"/>
                </a:moveTo>
                <a:lnTo>
                  <a:pt x="1017523" y="0"/>
                </a:lnTo>
                <a:lnTo>
                  <a:pt x="1007970" y="931"/>
                </a:lnTo>
                <a:lnTo>
                  <a:pt x="1001428" y="3759"/>
                </a:lnTo>
                <a:lnTo>
                  <a:pt x="997669" y="8529"/>
                </a:lnTo>
                <a:lnTo>
                  <a:pt x="996467" y="15290"/>
                </a:lnTo>
                <a:lnTo>
                  <a:pt x="996467" y="19088"/>
                </a:lnTo>
                <a:lnTo>
                  <a:pt x="1011313" y="19088"/>
                </a:lnTo>
                <a:lnTo>
                  <a:pt x="1011567" y="12700"/>
                </a:lnTo>
                <a:lnTo>
                  <a:pt x="1013726" y="10883"/>
                </a:lnTo>
                <a:lnTo>
                  <a:pt x="1032814" y="10883"/>
                </a:lnTo>
                <a:lnTo>
                  <a:pt x="1032814" y="863"/>
                </a:lnTo>
                <a:lnTo>
                  <a:pt x="1025296" y="0"/>
                </a:lnTo>
                <a:close/>
              </a:path>
              <a:path w="1256665" h="92075">
                <a:moveTo>
                  <a:pt x="1032814" y="10883"/>
                </a:moveTo>
                <a:lnTo>
                  <a:pt x="1025994" y="10883"/>
                </a:lnTo>
                <a:lnTo>
                  <a:pt x="1029449" y="11061"/>
                </a:lnTo>
                <a:lnTo>
                  <a:pt x="1032814" y="11315"/>
                </a:lnTo>
                <a:lnTo>
                  <a:pt x="1032814" y="10883"/>
                </a:lnTo>
                <a:close/>
              </a:path>
              <a:path w="1256665" h="92075">
                <a:moveTo>
                  <a:pt x="926706" y="863"/>
                </a:moveTo>
                <a:lnTo>
                  <a:pt x="911936" y="863"/>
                </a:lnTo>
                <a:lnTo>
                  <a:pt x="911936" y="69951"/>
                </a:lnTo>
                <a:lnTo>
                  <a:pt x="926706" y="69951"/>
                </a:lnTo>
                <a:lnTo>
                  <a:pt x="926706" y="863"/>
                </a:lnTo>
                <a:close/>
              </a:path>
              <a:path w="1256665" h="92075">
                <a:moveTo>
                  <a:pt x="870343" y="37401"/>
                </a:moveTo>
                <a:lnTo>
                  <a:pt x="861631" y="37401"/>
                </a:lnTo>
                <a:lnTo>
                  <a:pt x="850026" y="38252"/>
                </a:lnTo>
                <a:lnTo>
                  <a:pt x="840244" y="41117"/>
                </a:lnTo>
                <a:lnTo>
                  <a:pt x="833492" y="46461"/>
                </a:lnTo>
                <a:lnTo>
                  <a:pt x="830973" y="54749"/>
                </a:lnTo>
                <a:lnTo>
                  <a:pt x="832585" y="62103"/>
                </a:lnTo>
                <a:lnTo>
                  <a:pt x="837199" y="67087"/>
                </a:lnTo>
                <a:lnTo>
                  <a:pt x="844486" y="69919"/>
                </a:lnTo>
                <a:lnTo>
                  <a:pt x="854113" y="70815"/>
                </a:lnTo>
                <a:lnTo>
                  <a:pt x="862743" y="70313"/>
                </a:lnTo>
                <a:lnTo>
                  <a:pt x="870702" y="68880"/>
                </a:lnTo>
                <a:lnTo>
                  <a:pt x="878094" y="66620"/>
                </a:lnTo>
                <a:lnTo>
                  <a:pt x="885024" y="63639"/>
                </a:lnTo>
                <a:lnTo>
                  <a:pt x="899871" y="63639"/>
                </a:lnTo>
                <a:lnTo>
                  <a:pt x="899871" y="59931"/>
                </a:lnTo>
                <a:lnTo>
                  <a:pt x="850658" y="59931"/>
                </a:lnTo>
                <a:lnTo>
                  <a:pt x="845731" y="59499"/>
                </a:lnTo>
                <a:lnTo>
                  <a:pt x="845731" y="48971"/>
                </a:lnTo>
                <a:lnTo>
                  <a:pt x="852385" y="47066"/>
                </a:lnTo>
                <a:lnTo>
                  <a:pt x="899871" y="47066"/>
                </a:lnTo>
                <a:lnTo>
                  <a:pt x="899871" y="44297"/>
                </a:lnTo>
                <a:lnTo>
                  <a:pt x="899248" y="41021"/>
                </a:lnTo>
                <a:lnTo>
                  <a:pt x="885024" y="41021"/>
                </a:lnTo>
                <a:lnTo>
                  <a:pt x="878382" y="38773"/>
                </a:lnTo>
                <a:lnTo>
                  <a:pt x="870343" y="37401"/>
                </a:lnTo>
                <a:close/>
              </a:path>
              <a:path w="1256665" h="92075">
                <a:moveTo>
                  <a:pt x="899871" y="63639"/>
                </a:moveTo>
                <a:lnTo>
                  <a:pt x="885024" y="63639"/>
                </a:lnTo>
                <a:lnTo>
                  <a:pt x="885024" y="69951"/>
                </a:lnTo>
                <a:lnTo>
                  <a:pt x="899871" y="69951"/>
                </a:lnTo>
                <a:lnTo>
                  <a:pt x="899871" y="63639"/>
                </a:lnTo>
                <a:close/>
              </a:path>
              <a:path w="1256665" h="92075">
                <a:moveTo>
                  <a:pt x="899871" y="47066"/>
                </a:moveTo>
                <a:lnTo>
                  <a:pt x="872858" y="47066"/>
                </a:lnTo>
                <a:lnTo>
                  <a:pt x="879843" y="48526"/>
                </a:lnTo>
                <a:lnTo>
                  <a:pt x="885024" y="50177"/>
                </a:lnTo>
                <a:lnTo>
                  <a:pt x="885024" y="54152"/>
                </a:lnTo>
                <a:lnTo>
                  <a:pt x="878782" y="56432"/>
                </a:lnTo>
                <a:lnTo>
                  <a:pt x="871850" y="58266"/>
                </a:lnTo>
                <a:lnTo>
                  <a:pt x="864834" y="59487"/>
                </a:lnTo>
                <a:lnTo>
                  <a:pt x="858342" y="59931"/>
                </a:lnTo>
                <a:lnTo>
                  <a:pt x="899871" y="59931"/>
                </a:lnTo>
                <a:lnTo>
                  <a:pt x="899871" y="47066"/>
                </a:lnTo>
                <a:close/>
              </a:path>
              <a:path w="1256665" h="92075">
                <a:moveTo>
                  <a:pt x="896313" y="30568"/>
                </a:moveTo>
                <a:lnTo>
                  <a:pt x="872591" y="30568"/>
                </a:lnTo>
                <a:lnTo>
                  <a:pt x="885024" y="31356"/>
                </a:lnTo>
                <a:lnTo>
                  <a:pt x="885024" y="41021"/>
                </a:lnTo>
                <a:lnTo>
                  <a:pt x="899248" y="41021"/>
                </a:lnTo>
                <a:lnTo>
                  <a:pt x="897554" y="32101"/>
                </a:lnTo>
                <a:lnTo>
                  <a:pt x="896313" y="30568"/>
                </a:lnTo>
                <a:close/>
              </a:path>
              <a:path w="1256665" h="92075">
                <a:moveTo>
                  <a:pt x="866381" y="18224"/>
                </a:moveTo>
                <a:lnTo>
                  <a:pt x="858482" y="18572"/>
                </a:lnTo>
                <a:lnTo>
                  <a:pt x="850692" y="19592"/>
                </a:lnTo>
                <a:lnTo>
                  <a:pt x="842951" y="21246"/>
                </a:lnTo>
                <a:lnTo>
                  <a:pt x="835202" y="23495"/>
                </a:lnTo>
                <a:lnTo>
                  <a:pt x="840473" y="34277"/>
                </a:lnTo>
                <a:lnTo>
                  <a:pt x="847882" y="32390"/>
                </a:lnTo>
                <a:lnTo>
                  <a:pt x="854502" y="31261"/>
                </a:lnTo>
                <a:lnTo>
                  <a:pt x="860409" y="30712"/>
                </a:lnTo>
                <a:lnTo>
                  <a:pt x="865682" y="30568"/>
                </a:lnTo>
                <a:lnTo>
                  <a:pt x="896313" y="30568"/>
                </a:lnTo>
                <a:lnTo>
                  <a:pt x="891027" y="24041"/>
                </a:lnTo>
                <a:lnTo>
                  <a:pt x="880549" y="19590"/>
                </a:lnTo>
                <a:lnTo>
                  <a:pt x="866381" y="18224"/>
                </a:lnTo>
                <a:close/>
              </a:path>
              <a:path w="1256665" h="92075">
                <a:moveTo>
                  <a:pt x="796963" y="31432"/>
                </a:moveTo>
                <a:lnTo>
                  <a:pt x="782116" y="31432"/>
                </a:lnTo>
                <a:lnTo>
                  <a:pt x="782116" y="54673"/>
                </a:lnTo>
                <a:lnTo>
                  <a:pt x="783645" y="61926"/>
                </a:lnTo>
                <a:lnTo>
                  <a:pt x="787992" y="66949"/>
                </a:lnTo>
                <a:lnTo>
                  <a:pt x="794798" y="69870"/>
                </a:lnTo>
                <a:lnTo>
                  <a:pt x="803706" y="70815"/>
                </a:lnTo>
                <a:lnTo>
                  <a:pt x="810526" y="70815"/>
                </a:lnTo>
                <a:lnTo>
                  <a:pt x="816140" y="70383"/>
                </a:lnTo>
                <a:lnTo>
                  <a:pt x="821054" y="69507"/>
                </a:lnTo>
                <a:lnTo>
                  <a:pt x="821054" y="58458"/>
                </a:lnTo>
                <a:lnTo>
                  <a:pt x="798868" y="58458"/>
                </a:lnTo>
                <a:lnTo>
                  <a:pt x="796963" y="55956"/>
                </a:lnTo>
                <a:lnTo>
                  <a:pt x="796963" y="31432"/>
                </a:lnTo>
                <a:close/>
              </a:path>
              <a:path w="1256665" h="92075">
                <a:moveTo>
                  <a:pt x="821054" y="57607"/>
                </a:moveTo>
                <a:lnTo>
                  <a:pt x="815098" y="58458"/>
                </a:lnTo>
                <a:lnTo>
                  <a:pt x="821054" y="58458"/>
                </a:lnTo>
                <a:lnTo>
                  <a:pt x="821054" y="57607"/>
                </a:lnTo>
                <a:close/>
              </a:path>
              <a:path w="1256665" h="92075">
                <a:moveTo>
                  <a:pt x="821054" y="19088"/>
                </a:moveTo>
                <a:lnTo>
                  <a:pt x="768730" y="19088"/>
                </a:lnTo>
                <a:lnTo>
                  <a:pt x="768730" y="31432"/>
                </a:lnTo>
                <a:lnTo>
                  <a:pt x="821054" y="31432"/>
                </a:lnTo>
                <a:lnTo>
                  <a:pt x="821054" y="19088"/>
                </a:lnTo>
                <a:close/>
              </a:path>
              <a:path w="1256665" h="92075">
                <a:moveTo>
                  <a:pt x="796963" y="4318"/>
                </a:moveTo>
                <a:lnTo>
                  <a:pt x="782116" y="8547"/>
                </a:lnTo>
                <a:lnTo>
                  <a:pt x="782116" y="19088"/>
                </a:lnTo>
                <a:lnTo>
                  <a:pt x="796963" y="19088"/>
                </a:lnTo>
                <a:lnTo>
                  <a:pt x="796963" y="4318"/>
                </a:lnTo>
                <a:close/>
              </a:path>
              <a:path w="1256665" h="92075">
                <a:moveTo>
                  <a:pt x="758456" y="19088"/>
                </a:moveTo>
                <a:lnTo>
                  <a:pt x="743699" y="19088"/>
                </a:lnTo>
                <a:lnTo>
                  <a:pt x="743699" y="69951"/>
                </a:lnTo>
                <a:lnTo>
                  <a:pt x="758456" y="69951"/>
                </a:lnTo>
                <a:lnTo>
                  <a:pt x="758456" y="19088"/>
                </a:lnTo>
                <a:close/>
              </a:path>
              <a:path w="1256665" h="92075">
                <a:moveTo>
                  <a:pt x="758456" y="863"/>
                </a:moveTo>
                <a:lnTo>
                  <a:pt x="743699" y="863"/>
                </a:lnTo>
                <a:lnTo>
                  <a:pt x="743699" y="13728"/>
                </a:lnTo>
                <a:lnTo>
                  <a:pt x="758456" y="13728"/>
                </a:lnTo>
                <a:lnTo>
                  <a:pt x="758456" y="863"/>
                </a:lnTo>
                <a:close/>
              </a:path>
              <a:path w="1256665" h="92075">
                <a:moveTo>
                  <a:pt x="666610" y="75565"/>
                </a:moveTo>
                <a:lnTo>
                  <a:pt x="666610" y="87477"/>
                </a:lnTo>
                <a:lnTo>
                  <a:pt x="671585" y="88657"/>
                </a:lnTo>
                <a:lnTo>
                  <a:pt x="678845" y="89989"/>
                </a:lnTo>
                <a:lnTo>
                  <a:pt x="687950" y="91078"/>
                </a:lnTo>
                <a:lnTo>
                  <a:pt x="698461" y="91528"/>
                </a:lnTo>
                <a:lnTo>
                  <a:pt x="711770" y="89802"/>
                </a:lnTo>
                <a:lnTo>
                  <a:pt x="722266" y="84448"/>
                </a:lnTo>
                <a:lnTo>
                  <a:pt x="726188" y="79184"/>
                </a:lnTo>
                <a:lnTo>
                  <a:pt x="695185" y="79184"/>
                </a:lnTo>
                <a:lnTo>
                  <a:pt x="686821" y="78776"/>
                </a:lnTo>
                <a:lnTo>
                  <a:pt x="678921" y="77793"/>
                </a:lnTo>
                <a:lnTo>
                  <a:pt x="672009" y="76602"/>
                </a:lnTo>
                <a:lnTo>
                  <a:pt x="666610" y="75565"/>
                </a:lnTo>
                <a:close/>
              </a:path>
              <a:path w="1256665" h="92075">
                <a:moveTo>
                  <a:pt x="731621" y="60274"/>
                </a:moveTo>
                <a:lnTo>
                  <a:pt x="716775" y="60274"/>
                </a:lnTo>
                <a:lnTo>
                  <a:pt x="715294" y="68731"/>
                </a:lnTo>
                <a:lnTo>
                  <a:pt x="711485" y="74620"/>
                </a:lnTo>
                <a:lnTo>
                  <a:pt x="704923" y="78063"/>
                </a:lnTo>
                <a:lnTo>
                  <a:pt x="695185" y="79184"/>
                </a:lnTo>
                <a:lnTo>
                  <a:pt x="726188" y="79184"/>
                </a:lnTo>
                <a:lnTo>
                  <a:pt x="729149" y="75209"/>
                </a:lnTo>
                <a:lnTo>
                  <a:pt x="731621" y="61823"/>
                </a:lnTo>
                <a:lnTo>
                  <a:pt x="731621" y="60274"/>
                </a:lnTo>
                <a:close/>
              </a:path>
              <a:path w="1256665" h="92075">
                <a:moveTo>
                  <a:pt x="691045" y="18224"/>
                </a:moveTo>
                <a:lnTo>
                  <a:pt x="679021" y="19691"/>
                </a:lnTo>
                <a:lnTo>
                  <a:pt x="669570" y="24268"/>
                </a:lnTo>
                <a:lnTo>
                  <a:pt x="663389" y="32213"/>
                </a:lnTo>
                <a:lnTo>
                  <a:pt x="661174" y="43789"/>
                </a:lnTo>
                <a:lnTo>
                  <a:pt x="663389" y="55352"/>
                </a:lnTo>
                <a:lnTo>
                  <a:pt x="669570" y="63295"/>
                </a:lnTo>
                <a:lnTo>
                  <a:pt x="679021" y="67872"/>
                </a:lnTo>
                <a:lnTo>
                  <a:pt x="691045" y="69342"/>
                </a:lnTo>
                <a:lnTo>
                  <a:pt x="699399" y="68727"/>
                </a:lnTo>
                <a:lnTo>
                  <a:pt x="706467" y="66946"/>
                </a:lnTo>
                <a:lnTo>
                  <a:pt x="712256" y="64096"/>
                </a:lnTo>
                <a:lnTo>
                  <a:pt x="716775" y="60274"/>
                </a:lnTo>
                <a:lnTo>
                  <a:pt x="731621" y="60274"/>
                </a:lnTo>
                <a:lnTo>
                  <a:pt x="731621" y="56997"/>
                </a:lnTo>
                <a:lnTo>
                  <a:pt x="682497" y="56997"/>
                </a:lnTo>
                <a:lnTo>
                  <a:pt x="675932" y="53111"/>
                </a:lnTo>
                <a:lnTo>
                  <a:pt x="675932" y="34467"/>
                </a:lnTo>
                <a:lnTo>
                  <a:pt x="682497" y="30568"/>
                </a:lnTo>
                <a:lnTo>
                  <a:pt x="731621" y="30568"/>
                </a:lnTo>
                <a:lnTo>
                  <a:pt x="731621" y="27292"/>
                </a:lnTo>
                <a:lnTo>
                  <a:pt x="716775" y="27292"/>
                </a:lnTo>
                <a:lnTo>
                  <a:pt x="712306" y="23475"/>
                </a:lnTo>
                <a:lnTo>
                  <a:pt x="706534" y="20624"/>
                </a:lnTo>
                <a:lnTo>
                  <a:pt x="699449" y="18841"/>
                </a:lnTo>
                <a:lnTo>
                  <a:pt x="691045" y="18224"/>
                </a:lnTo>
                <a:close/>
              </a:path>
              <a:path w="1256665" h="92075">
                <a:moveTo>
                  <a:pt x="731621" y="30568"/>
                </a:moveTo>
                <a:lnTo>
                  <a:pt x="710298" y="30568"/>
                </a:lnTo>
                <a:lnTo>
                  <a:pt x="716775" y="34467"/>
                </a:lnTo>
                <a:lnTo>
                  <a:pt x="716775" y="53111"/>
                </a:lnTo>
                <a:lnTo>
                  <a:pt x="710298" y="56997"/>
                </a:lnTo>
                <a:lnTo>
                  <a:pt x="731621" y="56997"/>
                </a:lnTo>
                <a:lnTo>
                  <a:pt x="731621" y="30568"/>
                </a:lnTo>
                <a:close/>
              </a:path>
              <a:path w="1256665" h="92075">
                <a:moveTo>
                  <a:pt x="731621" y="19088"/>
                </a:moveTo>
                <a:lnTo>
                  <a:pt x="716775" y="19088"/>
                </a:lnTo>
                <a:lnTo>
                  <a:pt x="716775" y="27292"/>
                </a:lnTo>
                <a:lnTo>
                  <a:pt x="731621" y="27292"/>
                </a:lnTo>
                <a:lnTo>
                  <a:pt x="731621" y="19088"/>
                </a:lnTo>
                <a:close/>
              </a:path>
              <a:path w="1256665" h="92075">
                <a:moveTo>
                  <a:pt x="650379" y="19088"/>
                </a:moveTo>
                <a:lnTo>
                  <a:pt x="635609" y="19088"/>
                </a:lnTo>
                <a:lnTo>
                  <a:pt x="635609" y="69951"/>
                </a:lnTo>
                <a:lnTo>
                  <a:pt x="650379" y="69951"/>
                </a:lnTo>
                <a:lnTo>
                  <a:pt x="650379" y="19088"/>
                </a:lnTo>
                <a:close/>
              </a:path>
              <a:path w="1256665" h="92075">
                <a:moveTo>
                  <a:pt x="650379" y="863"/>
                </a:moveTo>
                <a:lnTo>
                  <a:pt x="635609" y="863"/>
                </a:lnTo>
                <a:lnTo>
                  <a:pt x="635609" y="13728"/>
                </a:lnTo>
                <a:lnTo>
                  <a:pt x="650379" y="13728"/>
                </a:lnTo>
                <a:lnTo>
                  <a:pt x="650379" y="863"/>
                </a:lnTo>
                <a:close/>
              </a:path>
              <a:path w="1256665" h="92075">
                <a:moveTo>
                  <a:pt x="583387" y="18224"/>
                </a:moveTo>
                <a:lnTo>
                  <a:pt x="571773" y="19607"/>
                </a:lnTo>
                <a:lnTo>
                  <a:pt x="562121" y="24107"/>
                </a:lnTo>
                <a:lnTo>
                  <a:pt x="555526" y="32251"/>
                </a:lnTo>
                <a:lnTo>
                  <a:pt x="553084" y="44564"/>
                </a:lnTo>
                <a:lnTo>
                  <a:pt x="555526" y="56863"/>
                </a:lnTo>
                <a:lnTo>
                  <a:pt x="562121" y="64976"/>
                </a:lnTo>
                <a:lnTo>
                  <a:pt x="571773" y="69445"/>
                </a:lnTo>
                <a:lnTo>
                  <a:pt x="583387" y="70815"/>
                </a:lnTo>
                <a:lnTo>
                  <a:pt x="591206" y="70252"/>
                </a:lnTo>
                <a:lnTo>
                  <a:pt x="598125" y="68580"/>
                </a:lnTo>
                <a:lnTo>
                  <a:pt x="604025" y="65821"/>
                </a:lnTo>
                <a:lnTo>
                  <a:pt x="608787" y="62001"/>
                </a:lnTo>
                <a:lnTo>
                  <a:pt x="623544" y="62001"/>
                </a:lnTo>
                <a:lnTo>
                  <a:pt x="623544" y="58458"/>
                </a:lnTo>
                <a:lnTo>
                  <a:pt x="575106" y="58458"/>
                </a:lnTo>
                <a:lnTo>
                  <a:pt x="567943" y="54571"/>
                </a:lnTo>
                <a:lnTo>
                  <a:pt x="567943" y="34467"/>
                </a:lnTo>
                <a:lnTo>
                  <a:pt x="575106" y="30568"/>
                </a:lnTo>
                <a:lnTo>
                  <a:pt x="623544" y="30568"/>
                </a:lnTo>
                <a:lnTo>
                  <a:pt x="623544" y="27025"/>
                </a:lnTo>
                <a:lnTo>
                  <a:pt x="608787" y="27025"/>
                </a:lnTo>
                <a:lnTo>
                  <a:pt x="604025" y="23212"/>
                </a:lnTo>
                <a:lnTo>
                  <a:pt x="598125" y="20458"/>
                </a:lnTo>
                <a:lnTo>
                  <a:pt x="591206" y="18787"/>
                </a:lnTo>
                <a:lnTo>
                  <a:pt x="583387" y="18224"/>
                </a:lnTo>
                <a:close/>
              </a:path>
              <a:path w="1256665" h="92075">
                <a:moveTo>
                  <a:pt x="623544" y="62001"/>
                </a:moveTo>
                <a:lnTo>
                  <a:pt x="608787" y="62001"/>
                </a:lnTo>
                <a:lnTo>
                  <a:pt x="608787" y="69951"/>
                </a:lnTo>
                <a:lnTo>
                  <a:pt x="623544" y="69951"/>
                </a:lnTo>
                <a:lnTo>
                  <a:pt x="623544" y="62001"/>
                </a:lnTo>
                <a:close/>
              </a:path>
              <a:path w="1256665" h="92075">
                <a:moveTo>
                  <a:pt x="623544" y="30568"/>
                </a:moveTo>
                <a:lnTo>
                  <a:pt x="601522" y="30568"/>
                </a:lnTo>
                <a:lnTo>
                  <a:pt x="608787" y="34467"/>
                </a:lnTo>
                <a:lnTo>
                  <a:pt x="608787" y="54571"/>
                </a:lnTo>
                <a:lnTo>
                  <a:pt x="601522" y="58458"/>
                </a:lnTo>
                <a:lnTo>
                  <a:pt x="623544" y="58458"/>
                </a:lnTo>
                <a:lnTo>
                  <a:pt x="623544" y="30568"/>
                </a:lnTo>
                <a:close/>
              </a:path>
              <a:path w="1256665" h="92075">
                <a:moveTo>
                  <a:pt x="623544" y="863"/>
                </a:moveTo>
                <a:lnTo>
                  <a:pt x="608787" y="863"/>
                </a:lnTo>
                <a:lnTo>
                  <a:pt x="608787" y="27025"/>
                </a:lnTo>
                <a:lnTo>
                  <a:pt x="623544" y="27025"/>
                </a:lnTo>
                <a:lnTo>
                  <a:pt x="623544" y="863"/>
                </a:lnTo>
                <a:close/>
              </a:path>
              <a:path w="1256665" h="92075">
                <a:moveTo>
                  <a:pt x="462800" y="18224"/>
                </a:moveTo>
                <a:lnTo>
                  <a:pt x="448589" y="19704"/>
                </a:lnTo>
                <a:lnTo>
                  <a:pt x="437446" y="24364"/>
                </a:lnTo>
                <a:lnTo>
                  <a:pt x="430173" y="32540"/>
                </a:lnTo>
                <a:lnTo>
                  <a:pt x="427570" y="44564"/>
                </a:lnTo>
                <a:lnTo>
                  <a:pt x="430220" y="56531"/>
                </a:lnTo>
                <a:lnTo>
                  <a:pt x="437500" y="64681"/>
                </a:lnTo>
                <a:lnTo>
                  <a:pt x="448407" y="69335"/>
                </a:lnTo>
                <a:lnTo>
                  <a:pt x="461937" y="70815"/>
                </a:lnTo>
                <a:lnTo>
                  <a:pt x="474841" y="69652"/>
                </a:lnTo>
                <a:lnTo>
                  <a:pt x="485132" y="66124"/>
                </a:lnTo>
                <a:lnTo>
                  <a:pt x="492524" y="60169"/>
                </a:lnTo>
                <a:lnTo>
                  <a:pt x="493200" y="58813"/>
                </a:lnTo>
                <a:lnTo>
                  <a:pt x="452094" y="58813"/>
                </a:lnTo>
                <a:lnTo>
                  <a:pt x="444322" y="56134"/>
                </a:lnTo>
                <a:lnTo>
                  <a:pt x="442683" y="48006"/>
                </a:lnTo>
                <a:lnTo>
                  <a:pt x="497585" y="48006"/>
                </a:lnTo>
                <a:lnTo>
                  <a:pt x="495815" y="38608"/>
                </a:lnTo>
                <a:lnTo>
                  <a:pt x="443191" y="38608"/>
                </a:lnTo>
                <a:lnTo>
                  <a:pt x="445528" y="31432"/>
                </a:lnTo>
                <a:lnTo>
                  <a:pt x="452615" y="29451"/>
                </a:lnTo>
                <a:lnTo>
                  <a:pt x="491513" y="29451"/>
                </a:lnTo>
                <a:lnTo>
                  <a:pt x="487446" y="24437"/>
                </a:lnTo>
                <a:lnTo>
                  <a:pt x="476395" y="19623"/>
                </a:lnTo>
                <a:lnTo>
                  <a:pt x="462800" y="18224"/>
                </a:lnTo>
                <a:close/>
              </a:path>
              <a:path w="1256665" h="92075">
                <a:moveTo>
                  <a:pt x="496735" y="51727"/>
                </a:moveTo>
                <a:lnTo>
                  <a:pt x="482053" y="51727"/>
                </a:lnTo>
                <a:lnTo>
                  <a:pt x="478345" y="56908"/>
                </a:lnTo>
                <a:lnTo>
                  <a:pt x="472122" y="58813"/>
                </a:lnTo>
                <a:lnTo>
                  <a:pt x="493200" y="58813"/>
                </a:lnTo>
                <a:lnTo>
                  <a:pt x="496735" y="51727"/>
                </a:lnTo>
                <a:close/>
              </a:path>
              <a:path w="1256665" h="92075">
                <a:moveTo>
                  <a:pt x="491513" y="29451"/>
                </a:moveTo>
                <a:lnTo>
                  <a:pt x="472046" y="29451"/>
                </a:lnTo>
                <a:lnTo>
                  <a:pt x="479297" y="31432"/>
                </a:lnTo>
                <a:lnTo>
                  <a:pt x="481787" y="38608"/>
                </a:lnTo>
                <a:lnTo>
                  <a:pt x="495815" y="38608"/>
                </a:lnTo>
                <a:lnTo>
                  <a:pt x="494870" y="33590"/>
                </a:lnTo>
                <a:lnTo>
                  <a:pt x="491513" y="29451"/>
                </a:lnTo>
                <a:close/>
              </a:path>
              <a:path w="1256665" h="92075">
                <a:moveTo>
                  <a:pt x="368858" y="19088"/>
                </a:moveTo>
                <a:lnTo>
                  <a:pt x="352463" y="19088"/>
                </a:lnTo>
                <a:lnTo>
                  <a:pt x="378193" y="69951"/>
                </a:lnTo>
                <a:lnTo>
                  <a:pt x="399262" y="69951"/>
                </a:lnTo>
                <a:lnTo>
                  <a:pt x="404565" y="59499"/>
                </a:lnTo>
                <a:lnTo>
                  <a:pt x="388810" y="59499"/>
                </a:lnTo>
                <a:lnTo>
                  <a:pt x="368858" y="19088"/>
                </a:lnTo>
                <a:close/>
              </a:path>
              <a:path w="1256665" h="92075">
                <a:moveTo>
                  <a:pt x="425068" y="19088"/>
                </a:moveTo>
                <a:lnTo>
                  <a:pt x="408673" y="19088"/>
                </a:lnTo>
                <a:lnTo>
                  <a:pt x="388810" y="59499"/>
                </a:lnTo>
                <a:lnTo>
                  <a:pt x="404565" y="59499"/>
                </a:lnTo>
                <a:lnTo>
                  <a:pt x="425068" y="19088"/>
                </a:lnTo>
                <a:close/>
              </a:path>
              <a:path w="1256665" h="92075">
                <a:moveTo>
                  <a:pt x="343052" y="19088"/>
                </a:moveTo>
                <a:lnTo>
                  <a:pt x="328282" y="19088"/>
                </a:lnTo>
                <a:lnTo>
                  <a:pt x="328282" y="69951"/>
                </a:lnTo>
                <a:lnTo>
                  <a:pt x="343052" y="69951"/>
                </a:lnTo>
                <a:lnTo>
                  <a:pt x="343052" y="19088"/>
                </a:lnTo>
                <a:close/>
              </a:path>
              <a:path w="1256665" h="92075">
                <a:moveTo>
                  <a:pt x="343052" y="863"/>
                </a:moveTo>
                <a:lnTo>
                  <a:pt x="328282" y="863"/>
                </a:lnTo>
                <a:lnTo>
                  <a:pt x="328282" y="13728"/>
                </a:lnTo>
                <a:lnTo>
                  <a:pt x="343052" y="13728"/>
                </a:lnTo>
                <a:lnTo>
                  <a:pt x="343052" y="863"/>
                </a:lnTo>
                <a:close/>
              </a:path>
              <a:path w="1256665" h="92075">
                <a:moveTo>
                  <a:pt x="293001" y="31432"/>
                </a:moveTo>
                <a:lnTo>
                  <a:pt x="278142" y="31432"/>
                </a:lnTo>
                <a:lnTo>
                  <a:pt x="278142" y="54673"/>
                </a:lnTo>
                <a:lnTo>
                  <a:pt x="279669" y="61926"/>
                </a:lnTo>
                <a:lnTo>
                  <a:pt x="284013" y="66949"/>
                </a:lnTo>
                <a:lnTo>
                  <a:pt x="290819" y="69870"/>
                </a:lnTo>
                <a:lnTo>
                  <a:pt x="299732" y="70815"/>
                </a:lnTo>
                <a:lnTo>
                  <a:pt x="306552" y="70815"/>
                </a:lnTo>
                <a:lnTo>
                  <a:pt x="312165" y="70383"/>
                </a:lnTo>
                <a:lnTo>
                  <a:pt x="317093" y="69507"/>
                </a:lnTo>
                <a:lnTo>
                  <a:pt x="317093" y="58458"/>
                </a:lnTo>
                <a:lnTo>
                  <a:pt x="294906" y="58458"/>
                </a:lnTo>
                <a:lnTo>
                  <a:pt x="293001" y="55956"/>
                </a:lnTo>
                <a:lnTo>
                  <a:pt x="293001" y="31432"/>
                </a:lnTo>
                <a:close/>
              </a:path>
              <a:path w="1256665" h="92075">
                <a:moveTo>
                  <a:pt x="317093" y="57607"/>
                </a:moveTo>
                <a:lnTo>
                  <a:pt x="311124" y="58458"/>
                </a:lnTo>
                <a:lnTo>
                  <a:pt x="317093" y="58458"/>
                </a:lnTo>
                <a:lnTo>
                  <a:pt x="317093" y="57607"/>
                </a:lnTo>
                <a:close/>
              </a:path>
              <a:path w="1256665" h="92075">
                <a:moveTo>
                  <a:pt x="317093" y="19088"/>
                </a:moveTo>
                <a:lnTo>
                  <a:pt x="264756" y="19088"/>
                </a:lnTo>
                <a:lnTo>
                  <a:pt x="264756" y="31432"/>
                </a:lnTo>
                <a:lnTo>
                  <a:pt x="317093" y="31432"/>
                </a:lnTo>
                <a:lnTo>
                  <a:pt x="317093" y="19088"/>
                </a:lnTo>
                <a:close/>
              </a:path>
              <a:path w="1256665" h="92075">
                <a:moveTo>
                  <a:pt x="293001" y="4318"/>
                </a:moveTo>
                <a:lnTo>
                  <a:pt x="278142" y="8547"/>
                </a:lnTo>
                <a:lnTo>
                  <a:pt x="278142" y="19088"/>
                </a:lnTo>
                <a:lnTo>
                  <a:pt x="293001" y="19088"/>
                </a:lnTo>
                <a:lnTo>
                  <a:pt x="293001" y="4318"/>
                </a:lnTo>
                <a:close/>
              </a:path>
              <a:path w="1256665" h="92075">
                <a:moveTo>
                  <a:pt x="254495" y="19088"/>
                </a:moveTo>
                <a:lnTo>
                  <a:pt x="239725" y="19088"/>
                </a:lnTo>
                <a:lnTo>
                  <a:pt x="239725" y="69951"/>
                </a:lnTo>
                <a:lnTo>
                  <a:pt x="254495" y="69951"/>
                </a:lnTo>
                <a:lnTo>
                  <a:pt x="254495" y="19088"/>
                </a:lnTo>
                <a:close/>
              </a:path>
              <a:path w="1256665" h="92075">
                <a:moveTo>
                  <a:pt x="254495" y="863"/>
                </a:moveTo>
                <a:lnTo>
                  <a:pt x="239725" y="863"/>
                </a:lnTo>
                <a:lnTo>
                  <a:pt x="239725" y="13728"/>
                </a:lnTo>
                <a:lnTo>
                  <a:pt x="254495" y="13728"/>
                </a:lnTo>
                <a:lnTo>
                  <a:pt x="254495" y="863"/>
                </a:lnTo>
                <a:close/>
              </a:path>
              <a:path w="1256665" h="92075">
                <a:moveTo>
                  <a:pt x="173431" y="52070"/>
                </a:moveTo>
                <a:lnTo>
                  <a:pt x="158661" y="52070"/>
                </a:lnTo>
                <a:lnTo>
                  <a:pt x="161801" y="61846"/>
                </a:lnTo>
                <a:lnTo>
                  <a:pt x="170179" y="67529"/>
                </a:lnTo>
                <a:lnTo>
                  <a:pt x="182235" y="70168"/>
                </a:lnTo>
                <a:lnTo>
                  <a:pt x="196405" y="70815"/>
                </a:lnTo>
                <a:lnTo>
                  <a:pt x="209756" y="70198"/>
                </a:lnTo>
                <a:lnTo>
                  <a:pt x="220022" y="67767"/>
                </a:lnTo>
                <a:lnTo>
                  <a:pt x="226614" y="62649"/>
                </a:lnTo>
                <a:lnTo>
                  <a:pt x="227436" y="59588"/>
                </a:lnTo>
                <a:lnTo>
                  <a:pt x="179044" y="59588"/>
                </a:lnTo>
                <a:lnTo>
                  <a:pt x="173431" y="57518"/>
                </a:lnTo>
                <a:lnTo>
                  <a:pt x="173431" y="52070"/>
                </a:lnTo>
                <a:close/>
              </a:path>
              <a:path w="1256665" h="92075">
                <a:moveTo>
                  <a:pt x="194144" y="18224"/>
                </a:moveTo>
                <a:lnTo>
                  <a:pt x="181188" y="18835"/>
                </a:lnTo>
                <a:lnTo>
                  <a:pt x="170514" y="21142"/>
                </a:lnTo>
                <a:lnTo>
                  <a:pt x="163189" y="25950"/>
                </a:lnTo>
                <a:lnTo>
                  <a:pt x="160477" y="34023"/>
                </a:lnTo>
                <a:lnTo>
                  <a:pt x="162540" y="41404"/>
                </a:lnTo>
                <a:lnTo>
                  <a:pt x="168757" y="45778"/>
                </a:lnTo>
                <a:lnTo>
                  <a:pt x="179165" y="48098"/>
                </a:lnTo>
                <a:lnTo>
                  <a:pt x="193801" y="49314"/>
                </a:lnTo>
                <a:lnTo>
                  <a:pt x="211683" y="50431"/>
                </a:lnTo>
                <a:lnTo>
                  <a:pt x="214109" y="50685"/>
                </a:lnTo>
                <a:lnTo>
                  <a:pt x="214109" y="58547"/>
                </a:lnTo>
                <a:lnTo>
                  <a:pt x="211505" y="59588"/>
                </a:lnTo>
                <a:lnTo>
                  <a:pt x="227436" y="59588"/>
                </a:lnTo>
                <a:lnTo>
                  <a:pt x="195529" y="38430"/>
                </a:lnTo>
                <a:lnTo>
                  <a:pt x="178003" y="37134"/>
                </a:lnTo>
                <a:lnTo>
                  <a:pt x="175323" y="36614"/>
                </a:lnTo>
                <a:lnTo>
                  <a:pt x="175323" y="30492"/>
                </a:lnTo>
                <a:lnTo>
                  <a:pt x="179298" y="29451"/>
                </a:lnTo>
                <a:lnTo>
                  <a:pt x="225691" y="29451"/>
                </a:lnTo>
                <a:lnTo>
                  <a:pt x="224755" y="26245"/>
                </a:lnTo>
                <a:lnTo>
                  <a:pt x="217878" y="21229"/>
                </a:lnTo>
                <a:lnTo>
                  <a:pt x="207404" y="18835"/>
                </a:lnTo>
                <a:lnTo>
                  <a:pt x="194144" y="18224"/>
                </a:lnTo>
                <a:close/>
              </a:path>
              <a:path w="1256665" h="92075">
                <a:moveTo>
                  <a:pt x="225691" y="29451"/>
                </a:moveTo>
                <a:lnTo>
                  <a:pt x="207022" y="29451"/>
                </a:lnTo>
                <a:lnTo>
                  <a:pt x="212382" y="30492"/>
                </a:lnTo>
                <a:lnTo>
                  <a:pt x="212382" y="34721"/>
                </a:lnTo>
                <a:lnTo>
                  <a:pt x="227228" y="34721"/>
                </a:lnTo>
                <a:lnTo>
                  <a:pt x="225691" y="29451"/>
                </a:lnTo>
                <a:close/>
              </a:path>
              <a:path w="1256665" h="92075">
                <a:moveTo>
                  <a:pt x="114909" y="18224"/>
                </a:moveTo>
                <a:lnTo>
                  <a:pt x="100516" y="19704"/>
                </a:lnTo>
                <a:lnTo>
                  <a:pt x="89393" y="24364"/>
                </a:lnTo>
                <a:lnTo>
                  <a:pt x="82221" y="32540"/>
                </a:lnTo>
                <a:lnTo>
                  <a:pt x="79679" y="44564"/>
                </a:lnTo>
                <a:lnTo>
                  <a:pt x="82221" y="56531"/>
                </a:lnTo>
                <a:lnTo>
                  <a:pt x="89393" y="64681"/>
                </a:lnTo>
                <a:lnTo>
                  <a:pt x="100516" y="69335"/>
                </a:lnTo>
                <a:lnTo>
                  <a:pt x="114909" y="70815"/>
                </a:lnTo>
                <a:lnTo>
                  <a:pt x="129265" y="69335"/>
                </a:lnTo>
                <a:lnTo>
                  <a:pt x="140392" y="64681"/>
                </a:lnTo>
                <a:lnTo>
                  <a:pt x="145884" y="58458"/>
                </a:lnTo>
                <a:lnTo>
                  <a:pt x="101180" y="58458"/>
                </a:lnTo>
                <a:lnTo>
                  <a:pt x="94437" y="55092"/>
                </a:lnTo>
                <a:lnTo>
                  <a:pt x="94437" y="33934"/>
                </a:lnTo>
                <a:lnTo>
                  <a:pt x="101180" y="30568"/>
                </a:lnTo>
                <a:lnTo>
                  <a:pt x="145850" y="30568"/>
                </a:lnTo>
                <a:lnTo>
                  <a:pt x="140392" y="24364"/>
                </a:lnTo>
                <a:lnTo>
                  <a:pt x="129265" y="19704"/>
                </a:lnTo>
                <a:lnTo>
                  <a:pt x="114909" y="18224"/>
                </a:lnTo>
                <a:close/>
              </a:path>
              <a:path w="1256665" h="92075">
                <a:moveTo>
                  <a:pt x="145850" y="30568"/>
                </a:moveTo>
                <a:lnTo>
                  <a:pt x="128536" y="30568"/>
                </a:lnTo>
                <a:lnTo>
                  <a:pt x="135280" y="33934"/>
                </a:lnTo>
                <a:lnTo>
                  <a:pt x="135280" y="55092"/>
                </a:lnTo>
                <a:lnTo>
                  <a:pt x="128536" y="58458"/>
                </a:lnTo>
                <a:lnTo>
                  <a:pt x="145884" y="58458"/>
                </a:lnTo>
                <a:lnTo>
                  <a:pt x="147585" y="56531"/>
                </a:lnTo>
                <a:lnTo>
                  <a:pt x="150139" y="44564"/>
                </a:lnTo>
                <a:lnTo>
                  <a:pt x="147585" y="32540"/>
                </a:lnTo>
                <a:lnTo>
                  <a:pt x="145850" y="30568"/>
                </a:lnTo>
                <a:close/>
              </a:path>
              <a:path w="1256665" h="92075">
                <a:moveTo>
                  <a:pt x="47497" y="9512"/>
                </a:moveTo>
                <a:lnTo>
                  <a:pt x="0" y="9512"/>
                </a:lnTo>
                <a:lnTo>
                  <a:pt x="0" y="69951"/>
                </a:lnTo>
                <a:lnTo>
                  <a:pt x="15544" y="69951"/>
                </a:lnTo>
                <a:lnTo>
                  <a:pt x="15544" y="53809"/>
                </a:lnTo>
                <a:lnTo>
                  <a:pt x="47497" y="53809"/>
                </a:lnTo>
                <a:lnTo>
                  <a:pt x="56905" y="52248"/>
                </a:lnTo>
                <a:lnTo>
                  <a:pt x="64215" y="47802"/>
                </a:lnTo>
                <a:lnTo>
                  <a:pt x="68952" y="40833"/>
                </a:lnTo>
                <a:lnTo>
                  <a:pt x="15544" y="40754"/>
                </a:lnTo>
                <a:lnTo>
                  <a:pt x="15544" y="22542"/>
                </a:lnTo>
                <a:lnTo>
                  <a:pt x="68948" y="22542"/>
                </a:lnTo>
                <a:lnTo>
                  <a:pt x="64215" y="15552"/>
                </a:lnTo>
                <a:lnTo>
                  <a:pt x="56905" y="11084"/>
                </a:lnTo>
                <a:lnTo>
                  <a:pt x="47497" y="9512"/>
                </a:lnTo>
                <a:close/>
              </a:path>
              <a:path w="1256665" h="92075">
                <a:moveTo>
                  <a:pt x="68948" y="22542"/>
                </a:moveTo>
                <a:lnTo>
                  <a:pt x="55092" y="22542"/>
                </a:lnTo>
                <a:lnTo>
                  <a:pt x="55092" y="40754"/>
                </a:lnTo>
                <a:lnTo>
                  <a:pt x="68967" y="40754"/>
                </a:lnTo>
                <a:lnTo>
                  <a:pt x="70637" y="31699"/>
                </a:lnTo>
                <a:lnTo>
                  <a:pt x="68948" y="22542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51A90F7-4173-4539-90AE-F4A8B177F34B}"/>
              </a:ext>
            </a:extLst>
          </p:cNvPr>
          <p:cNvSpPr/>
          <p:nvPr/>
        </p:nvSpPr>
        <p:spPr>
          <a:xfrm>
            <a:off x="7119938" y="2743200"/>
            <a:ext cx="2228850" cy="3429000"/>
          </a:xfrm>
          <a:custGeom>
            <a:avLst/>
            <a:gdLst/>
            <a:ahLst/>
            <a:cxnLst/>
            <a:rect l="l" t="t" r="r" b="b"/>
            <a:pathLst>
              <a:path w="3657600" h="4572000">
                <a:moveTo>
                  <a:pt x="3657600" y="0"/>
                </a:moveTo>
                <a:lnTo>
                  <a:pt x="0" y="0"/>
                </a:lnTo>
                <a:lnTo>
                  <a:pt x="0" y="4572000"/>
                </a:lnTo>
                <a:lnTo>
                  <a:pt x="3657600" y="4572000"/>
                </a:lnTo>
                <a:lnTo>
                  <a:pt x="36576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2" name="object 13">
            <a:extLst>
              <a:ext uri="{FF2B5EF4-FFF2-40B4-BE49-F238E27FC236}">
                <a16:creationId xmlns:a16="http://schemas.microsoft.com/office/drawing/2014/main" id="{AEDC5B23-1647-49B1-8689-60FD3A78D068}"/>
              </a:ext>
            </a:extLst>
          </p:cNvPr>
          <p:cNvSpPr/>
          <p:nvPr/>
        </p:nvSpPr>
        <p:spPr>
          <a:xfrm>
            <a:off x="0" y="0"/>
            <a:ext cx="3219450" cy="6858000"/>
          </a:xfrm>
          <a:custGeom>
            <a:avLst/>
            <a:gdLst/>
            <a:ahLst/>
            <a:cxnLst/>
            <a:rect l="l" t="t" r="r" b="b"/>
            <a:pathLst>
              <a:path w="5283200" h="9144000">
                <a:moveTo>
                  <a:pt x="5283200" y="0"/>
                </a:moveTo>
                <a:lnTo>
                  <a:pt x="0" y="0"/>
                </a:lnTo>
                <a:lnTo>
                  <a:pt x="0" y="9144000"/>
                </a:lnTo>
                <a:lnTo>
                  <a:pt x="5283200" y="9144000"/>
                </a:lnTo>
                <a:lnTo>
                  <a:pt x="528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B878D6D7-A21E-4916-A1DB-9ADACBC53B10}"/>
              </a:ext>
            </a:extLst>
          </p:cNvPr>
          <p:cNvSpPr/>
          <p:nvPr/>
        </p:nvSpPr>
        <p:spPr>
          <a:xfrm>
            <a:off x="6562725" y="1371599"/>
            <a:ext cx="1671638" cy="4800600"/>
          </a:xfrm>
          <a:custGeom>
            <a:avLst/>
            <a:gdLst/>
            <a:ahLst/>
            <a:cxnLst/>
            <a:rect l="l" t="t" r="r" b="b"/>
            <a:pathLst>
              <a:path w="2743200" h="6400800">
                <a:moveTo>
                  <a:pt x="914400" y="5486400"/>
                </a:moveTo>
                <a:lnTo>
                  <a:pt x="0" y="5486400"/>
                </a:lnTo>
                <a:lnTo>
                  <a:pt x="0" y="6400800"/>
                </a:lnTo>
                <a:lnTo>
                  <a:pt x="914400" y="6400800"/>
                </a:lnTo>
                <a:lnTo>
                  <a:pt x="914400" y="5486400"/>
                </a:lnTo>
                <a:close/>
              </a:path>
              <a:path w="2743200" h="6400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2743200" h="6400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CF9F1995-3828-492B-8E00-DABB95B1CE1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2" y="5486401"/>
            <a:ext cx="1547813" cy="685799"/>
          </a:xfrm>
          <a:noFill/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E3D4C3-7FF7-4C2C-AC1C-58D153EBB7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9474" y="1029173"/>
            <a:ext cx="2102316" cy="2114550"/>
          </a:xfrm>
        </p:spPr>
        <p:txBody>
          <a:bodyPr/>
          <a:lstStyle/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4CC0C3C-8E8C-4602-B27C-EAA9C3EB84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5737" y="1029173"/>
            <a:ext cx="2505908" cy="211455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D69663-3C24-47D3-AADB-4E2655570CE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154115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7841DCF2-2B94-45F3-94F5-118FE191F0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7213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7" name="Text Placeholder 18">
            <a:extLst>
              <a:ext uri="{FF2B5EF4-FFF2-40B4-BE49-F238E27FC236}">
                <a16:creationId xmlns:a16="http://schemas.microsoft.com/office/drawing/2014/main" id="{9675BD83-58FE-4C71-B90D-479A1D8BFE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8680" y="33289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570C0C40-76FE-48E0-A40C-7FA39A6116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3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380F4B4-DFB8-45BA-BF39-FD12DC17938D}"/>
              </a:ext>
            </a:extLst>
          </p:cNvPr>
          <p:cNvSpPr/>
          <p:nvPr/>
        </p:nvSpPr>
        <p:spPr>
          <a:xfrm>
            <a:off x="0" y="5143500"/>
            <a:ext cx="9906000" cy="1714500"/>
          </a:xfrm>
          <a:custGeom>
            <a:avLst/>
            <a:gdLst>
              <a:gd name="connsiteX0" fmla="*/ 0 w 16256000"/>
              <a:gd name="connsiteY0" fmla="*/ 0 h 2286000"/>
              <a:gd name="connsiteX1" fmla="*/ 16256000 w 16256000"/>
              <a:gd name="connsiteY1" fmla="*/ 0 h 2286000"/>
              <a:gd name="connsiteX2" fmla="*/ 16256000 w 16256000"/>
              <a:gd name="connsiteY2" fmla="*/ 1371600 h 2286000"/>
              <a:gd name="connsiteX3" fmla="*/ 15341600 w 16256000"/>
              <a:gd name="connsiteY3" fmla="*/ 1371600 h 2286000"/>
              <a:gd name="connsiteX4" fmla="*/ 15341600 w 16256000"/>
              <a:gd name="connsiteY4" fmla="*/ 2286000 h 2286000"/>
              <a:gd name="connsiteX5" fmla="*/ 0 w 16256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56000" h="2286000">
                <a:moveTo>
                  <a:pt x="0" y="0"/>
                </a:moveTo>
                <a:lnTo>
                  <a:pt x="16256000" y="0"/>
                </a:lnTo>
                <a:lnTo>
                  <a:pt x="16256000" y="1371600"/>
                </a:lnTo>
                <a:lnTo>
                  <a:pt x="15341600" y="1371600"/>
                </a:lnTo>
                <a:lnTo>
                  <a:pt x="15341600" y="2286000"/>
                </a:lnTo>
                <a:lnTo>
                  <a:pt x="0" y="2286000"/>
                </a:lnTo>
                <a:close/>
              </a:path>
            </a:pathLst>
          </a:custGeom>
          <a:solidFill>
            <a:srgbClr val="222C4A"/>
          </a:solidFill>
        </p:spPr>
        <p:txBody>
          <a:bodyPr wrap="square" lIns="0" tIns="0" rIns="0" bIns="0" rtlCol="0">
            <a:noAutofit/>
          </a:bodyPr>
          <a:lstStyle/>
          <a:p>
            <a:endParaRPr sz="1097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FA622AA-407E-4F46-953C-4F5CFFF27758}"/>
              </a:ext>
            </a:extLst>
          </p:cNvPr>
          <p:cNvGrpSpPr/>
          <p:nvPr/>
        </p:nvGrpSpPr>
        <p:grpSpPr>
          <a:xfrm>
            <a:off x="7820355" y="5902836"/>
            <a:ext cx="215146" cy="264795"/>
            <a:chOff x="12833403" y="7870446"/>
            <a:chExt cx="353060" cy="353060"/>
          </a:xfrm>
        </p:grpSpPr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FE6F9D51-5130-443F-B1D6-66A7423C656F}"/>
                </a:ext>
              </a:extLst>
            </p:cNvPr>
            <p:cNvSpPr/>
            <p:nvPr/>
          </p:nvSpPr>
          <p:spPr>
            <a:xfrm>
              <a:off x="12833403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9D8A372B-5C39-4A64-9C1B-63367CD65657}"/>
                </a:ext>
              </a:extLst>
            </p:cNvPr>
            <p:cNvSpPr/>
            <p:nvPr/>
          </p:nvSpPr>
          <p:spPr>
            <a:xfrm>
              <a:off x="12956971" y="7938711"/>
              <a:ext cx="105664" cy="21626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B1B7B49-0DA0-45B6-8E19-E1D65283D0ED}"/>
              </a:ext>
            </a:extLst>
          </p:cNvPr>
          <p:cNvGrpSpPr/>
          <p:nvPr/>
        </p:nvGrpSpPr>
        <p:grpSpPr>
          <a:xfrm>
            <a:off x="8147749" y="5902836"/>
            <a:ext cx="215146" cy="264795"/>
            <a:chOff x="13370664" y="7870446"/>
            <a:chExt cx="353060" cy="353060"/>
          </a:xfrm>
        </p:grpSpPr>
        <p:sp>
          <p:nvSpPr>
            <p:cNvPr id="18" name="object 16">
              <a:extLst>
                <a:ext uri="{FF2B5EF4-FFF2-40B4-BE49-F238E27FC236}">
                  <a16:creationId xmlns:a16="http://schemas.microsoft.com/office/drawing/2014/main" id="{656B5F96-588D-4950-953A-24C2FAA305BA}"/>
                </a:ext>
              </a:extLst>
            </p:cNvPr>
            <p:cNvSpPr/>
            <p:nvPr/>
          </p:nvSpPr>
          <p:spPr>
            <a:xfrm>
              <a:off x="13370664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11BF1B32-D111-4881-9DFF-43E6C6F520A6}"/>
                </a:ext>
              </a:extLst>
            </p:cNvPr>
            <p:cNvSpPr/>
            <p:nvPr/>
          </p:nvSpPr>
          <p:spPr>
            <a:xfrm>
              <a:off x="13442765" y="7962081"/>
              <a:ext cx="208597" cy="16953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C6C106-DE9F-424D-9B9A-C24F893C9D73}"/>
              </a:ext>
            </a:extLst>
          </p:cNvPr>
          <p:cNvGrpSpPr/>
          <p:nvPr/>
        </p:nvGrpSpPr>
        <p:grpSpPr>
          <a:xfrm>
            <a:off x="9129932" y="5902836"/>
            <a:ext cx="215146" cy="264795"/>
            <a:chOff x="14982452" y="7870446"/>
            <a:chExt cx="353060" cy="353060"/>
          </a:xfrm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48B0EE01-8313-438B-85E4-919E3227E5BE}"/>
                </a:ext>
              </a:extLst>
            </p:cNvPr>
            <p:cNvSpPr/>
            <p:nvPr/>
          </p:nvSpPr>
          <p:spPr>
            <a:xfrm>
              <a:off x="14982452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4656ECC0-6C42-4410-9C22-44D7020441F1}"/>
                </a:ext>
              </a:extLst>
            </p:cNvPr>
            <p:cNvSpPr/>
            <p:nvPr/>
          </p:nvSpPr>
          <p:spPr>
            <a:xfrm>
              <a:off x="15049749" y="7937746"/>
              <a:ext cx="218198" cy="21819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6C8FFF-8FEA-4190-BEF9-18887051D0DD}"/>
              </a:ext>
            </a:extLst>
          </p:cNvPr>
          <p:cNvGrpSpPr/>
          <p:nvPr/>
        </p:nvGrpSpPr>
        <p:grpSpPr>
          <a:xfrm>
            <a:off x="8802538" y="5902836"/>
            <a:ext cx="215146" cy="264795"/>
            <a:chOff x="14445191" y="7870446"/>
            <a:chExt cx="353060" cy="353060"/>
          </a:xfrm>
        </p:grpSpPr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3414877-28FB-4DC1-8403-7063952D0A34}"/>
                </a:ext>
              </a:extLst>
            </p:cNvPr>
            <p:cNvSpPr/>
            <p:nvPr/>
          </p:nvSpPr>
          <p:spPr>
            <a:xfrm>
              <a:off x="14445191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152A3D67-68A0-4395-A725-E4D4B063083F}"/>
                </a:ext>
              </a:extLst>
            </p:cNvPr>
            <p:cNvSpPr/>
            <p:nvPr/>
          </p:nvSpPr>
          <p:spPr>
            <a:xfrm>
              <a:off x="14516264" y="7973118"/>
              <a:ext cx="210654" cy="14744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9B15965-B2D7-4F16-8E53-EFCD29DF2415}"/>
              </a:ext>
            </a:extLst>
          </p:cNvPr>
          <p:cNvGrpSpPr/>
          <p:nvPr/>
        </p:nvGrpSpPr>
        <p:grpSpPr>
          <a:xfrm>
            <a:off x="8475144" y="5902836"/>
            <a:ext cx="215146" cy="264795"/>
            <a:chOff x="13907928" y="7870446"/>
            <a:chExt cx="353060" cy="35306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55F9FD29-BE99-4B55-9E02-369EDD098BF6}"/>
                </a:ext>
              </a:extLst>
            </p:cNvPr>
            <p:cNvSpPr/>
            <p:nvPr/>
          </p:nvSpPr>
          <p:spPr>
            <a:xfrm>
              <a:off x="13907928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7E5DCE-E3CE-4A81-935E-3853938624C6}"/>
                </a:ext>
              </a:extLst>
            </p:cNvPr>
            <p:cNvSpPr/>
            <p:nvPr/>
          </p:nvSpPr>
          <p:spPr>
            <a:xfrm>
              <a:off x="13990901" y="7954696"/>
              <a:ext cx="186842" cy="18430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sp>
        <p:nvSpPr>
          <p:cNvPr id="30" name="object 8">
            <a:extLst>
              <a:ext uri="{FF2B5EF4-FFF2-40B4-BE49-F238E27FC236}">
                <a16:creationId xmlns:a16="http://schemas.microsoft.com/office/drawing/2014/main" id="{30407C8C-1F92-4D15-91A5-2F39144E61A5}"/>
              </a:ext>
            </a:extLst>
          </p:cNvPr>
          <p:cNvSpPr txBox="1"/>
          <p:nvPr/>
        </p:nvSpPr>
        <p:spPr>
          <a:xfrm>
            <a:off x="7820355" y="5487351"/>
            <a:ext cx="1536558" cy="215957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grpSp>
        <p:nvGrpSpPr>
          <p:cNvPr id="38" name="Graphique 30">
            <a:extLst>
              <a:ext uri="{FF2B5EF4-FFF2-40B4-BE49-F238E27FC236}">
                <a16:creationId xmlns:a16="http://schemas.microsoft.com/office/drawing/2014/main" id="{EFD8DA84-E25B-4397-9A13-BE58B213B7EB}"/>
              </a:ext>
            </a:extLst>
          </p:cNvPr>
          <p:cNvGrpSpPr>
            <a:grpSpLocks noChangeAspect="1"/>
          </p:cNvGrpSpPr>
          <p:nvPr/>
        </p:nvGrpSpPr>
        <p:grpSpPr>
          <a:xfrm>
            <a:off x="557213" y="5553303"/>
            <a:ext cx="2228850" cy="650468"/>
            <a:chOff x="6756400" y="5334000"/>
            <a:chExt cx="1824936" cy="432729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D7AB141-7BCF-40C0-B8C8-1BE3AA1B10F4}"/>
                </a:ext>
              </a:extLst>
            </p:cNvPr>
            <p:cNvSpPr/>
            <p:nvPr/>
          </p:nvSpPr>
          <p:spPr>
            <a:xfrm>
              <a:off x="7041667" y="567528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97"/>
            </a:p>
          </p:txBody>
        </p:sp>
        <p:grpSp>
          <p:nvGrpSpPr>
            <p:cNvPr id="40" name="Graphique 30">
              <a:extLst>
                <a:ext uri="{FF2B5EF4-FFF2-40B4-BE49-F238E27FC236}">
                  <a16:creationId xmlns:a16="http://schemas.microsoft.com/office/drawing/2014/main" id="{C1A2F515-8375-4C33-99AF-323CF12CD29D}"/>
                </a:ext>
              </a:extLst>
            </p:cNvPr>
            <p:cNvGrpSpPr/>
            <p:nvPr/>
          </p:nvGrpSpPr>
          <p:grpSpPr>
            <a:xfrm>
              <a:off x="6756400" y="5334000"/>
              <a:ext cx="1824936" cy="273031"/>
              <a:chOff x="6756400" y="5334000"/>
              <a:chExt cx="1824936" cy="273031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61F09EFB-CB0B-4FBD-B3D9-8948AB4B0676}"/>
                  </a:ext>
                </a:extLst>
              </p:cNvPr>
              <p:cNvSpPr/>
              <p:nvPr/>
            </p:nvSpPr>
            <p:spPr>
              <a:xfrm>
                <a:off x="6756400" y="533400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87CE0B4-A958-4D06-9420-19E32A7A994A}"/>
                  </a:ext>
                </a:extLst>
              </p:cNvPr>
              <p:cNvSpPr/>
              <p:nvPr/>
            </p:nvSpPr>
            <p:spPr>
              <a:xfrm>
                <a:off x="8363039" y="538422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/>
              </a:p>
            </p:txBody>
          </p:sp>
        </p:grpSp>
      </p:grp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F2F5812-A87B-4FF0-8AF0-430D0522C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8680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565143D5-803B-4BBC-9EEC-05BD666ADE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606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15EB7A04-D68C-41D0-B905-5073B5F80E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3074" y="33289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E0B973B9-F199-4B5E-803F-4410743BD7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1606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A2767ABD-17B9-4375-BB06-FA22C3DCE9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3074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</p:spTree>
    <p:extLst>
      <p:ext uri="{BB962C8B-B14F-4D97-AF65-F5344CB8AC3E}">
        <p14:creationId xmlns:p14="http://schemas.microsoft.com/office/powerpoint/2010/main" val="12731879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/>
        </p:nvSpPr>
        <p:spPr>
          <a:xfrm>
            <a:off x="556838" y="5552613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/>
        </p:nvSpPr>
        <p:spPr>
          <a:xfrm>
            <a:off x="884326" y="5552613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3" y="3713308"/>
            <a:ext cx="2228850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/>
        </p:nvSpPr>
        <p:spPr>
          <a:xfrm>
            <a:off x="6005589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/>
        </p:nvSpPr>
        <p:spPr>
          <a:xfrm>
            <a:off x="3645099" y="3895726"/>
            <a:ext cx="1245989" cy="215957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/>
        </p:nvSpPr>
        <p:spPr>
          <a:xfrm>
            <a:off x="549474" y="4791074"/>
            <a:ext cx="4960739" cy="541847"/>
          </a:xfrm>
          <a:prstGeom prst="rect">
            <a:avLst/>
          </a:prstGeom>
        </p:spPr>
        <p:txBody>
          <a:bodyPr vert="horz" wrap="square" lIns="0" tIns="13544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6"/>
              </a:spcBef>
            </a:pP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/>
        </p:nvSpPr>
        <p:spPr>
          <a:xfrm>
            <a:off x="1211814" y="5552612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/>
        </p:nvSpPr>
        <p:spPr>
          <a:xfrm>
            <a:off x="1539302" y="5552612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/>
        </p:nvSpPr>
        <p:spPr>
          <a:xfrm>
            <a:off x="1866791" y="5552612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7D4A96E6-C3EB-45C1-B3BA-4E240EF4D554}"/>
              </a:ext>
            </a:extLst>
          </p:cNvPr>
          <p:cNvSpPr/>
          <p:nvPr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</p:spTree>
    <p:extLst>
      <p:ext uri="{BB962C8B-B14F-4D97-AF65-F5344CB8AC3E}">
        <p14:creationId xmlns:p14="http://schemas.microsoft.com/office/powerpoint/2010/main" val="42556039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End 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/>
        </p:nvSpPr>
        <p:spPr>
          <a:xfrm>
            <a:off x="556838" y="5552613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/>
        </p:nvSpPr>
        <p:spPr>
          <a:xfrm>
            <a:off x="884326" y="5552613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8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/>
        </p:nvSpPr>
        <p:spPr>
          <a:xfrm>
            <a:off x="6005589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/>
        </p:nvSpPr>
        <p:spPr>
          <a:xfrm>
            <a:off x="549474" y="4791074"/>
            <a:ext cx="4960739" cy="541847"/>
          </a:xfrm>
          <a:prstGeom prst="rect">
            <a:avLst/>
          </a:prstGeom>
        </p:spPr>
        <p:txBody>
          <a:bodyPr vert="horz" wrap="square" lIns="0" tIns="13544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6"/>
              </a:spcBef>
            </a:pP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/>
        </p:nvSpPr>
        <p:spPr>
          <a:xfrm>
            <a:off x="1211814" y="5552612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/>
        </p:nvSpPr>
        <p:spPr>
          <a:xfrm>
            <a:off x="1539302" y="5552612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/>
        </p:nvSpPr>
        <p:spPr>
          <a:xfrm>
            <a:off x="1866791" y="5552612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FBBE171D-EA4E-452C-8EBE-60BD260840FF}"/>
              </a:ext>
            </a:extLst>
          </p:cNvPr>
          <p:cNvSpPr/>
          <p:nvPr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609C26D4-87EE-42AD-8338-D5EE327E9EA9}"/>
              </a:ext>
            </a:extLst>
          </p:cNvPr>
          <p:cNvSpPr txBox="1"/>
          <p:nvPr/>
        </p:nvSpPr>
        <p:spPr>
          <a:xfrm>
            <a:off x="3645099" y="3895726"/>
            <a:ext cx="1245989" cy="215957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756819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" descr="Slide_footer_0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58575"/>
            <a:ext cx="9906000" cy="17994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336" y="6093107"/>
            <a:ext cx="784356" cy="52560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05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End F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/>
        </p:nvSpPr>
        <p:spPr>
          <a:xfrm>
            <a:off x="556838" y="5552613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/>
        </p:nvSpPr>
        <p:spPr>
          <a:xfrm>
            <a:off x="884326" y="5552613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8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/>
        </p:nvSpPr>
        <p:spPr>
          <a:xfrm>
            <a:off x="6005589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/>
        </p:nvSpPr>
        <p:spPr>
          <a:xfrm>
            <a:off x="1211814" y="5552612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/>
        </p:nvSpPr>
        <p:spPr>
          <a:xfrm>
            <a:off x="1539302" y="5552612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/>
        </p:nvSpPr>
        <p:spPr>
          <a:xfrm>
            <a:off x="1866791" y="5552612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FBBE171D-EA4E-452C-8EBE-60BD260840FF}"/>
              </a:ext>
            </a:extLst>
          </p:cNvPr>
          <p:cNvSpPr/>
          <p:nvPr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609C26D4-87EE-42AD-8338-D5EE327E9EA9}"/>
              </a:ext>
            </a:extLst>
          </p:cNvPr>
          <p:cNvSpPr txBox="1"/>
          <p:nvPr/>
        </p:nvSpPr>
        <p:spPr>
          <a:xfrm>
            <a:off x="3645099" y="3895726"/>
            <a:ext cx="1245989" cy="215957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19" name="object 29">
            <a:extLst>
              <a:ext uri="{FF2B5EF4-FFF2-40B4-BE49-F238E27FC236}">
                <a16:creationId xmlns:a16="http://schemas.microsoft.com/office/drawing/2014/main" id="{6F3CD315-706A-434B-868F-34214EBB8D8B}"/>
              </a:ext>
            </a:extLst>
          </p:cNvPr>
          <p:cNvSpPr txBox="1"/>
          <p:nvPr/>
        </p:nvSpPr>
        <p:spPr>
          <a:xfrm>
            <a:off x="549474" y="4791074"/>
            <a:ext cx="4960739" cy="541847"/>
          </a:xfrm>
          <a:prstGeom prst="rect">
            <a:avLst/>
          </a:prstGeom>
        </p:spPr>
        <p:txBody>
          <a:bodyPr vert="horz" wrap="square" lIns="0" tIns="13544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6"/>
              </a:spcBef>
            </a:pP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SPAGNE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</a:t>
            </a:r>
            <a:r>
              <a:rPr lang="fr-FR"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UISSE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LETERRE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OGN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AN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OC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N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S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</a:t>
            </a:r>
            <a:r>
              <a:rPr lang="fr-FR"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U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</a:t>
            </a:r>
            <a:r>
              <a:rPr lang="fr-FR"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</a:t>
            </a:r>
            <a:r>
              <a:rPr lang="fr-FR"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O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UBL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 DOMINICAIN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R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lang="fr-FR" sz="853" spc="1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.A.U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36735538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65291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7F5AF90-088B-406A-A347-1CEAF460C8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9851DD1-8E70-45BD-968B-901CCAD56F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C678A6D-014D-45AE-A53F-E619B1E3A9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0BC47-9A95-4B85-B870-1F2BC530B481}" type="datetimeFigureOut">
              <a:rPr lang="fr-FR" smtClean="0"/>
              <a:t>08/08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505731E-B934-44E1-A9EA-014FA88AE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15F53D8-0A89-4B2F-8FB4-B8D78EFC1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4395A8-AF9B-488E-88F5-09C8DC541A8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950184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ver ">
    <p:bg>
      <p:bgPr>
        <a:solidFill>
          <a:srgbClr val="222C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0065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tx2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6043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215033" y="1669251"/>
            <a:ext cx="5130998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troduction</a:t>
            </a: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" name="object 4">
            <a:extLst>
              <a:ext uri="{FF2B5EF4-FFF2-40B4-BE49-F238E27FC236}">
                <a16:creationId xmlns:a16="http://schemas.microsoft.com/office/drawing/2014/main" id="{D3C0EACF-3AD5-4884-9531-06FDA14E14F3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8F84A533-D15F-4251-B825-30C4967127B7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5815314C-9423-41A5-BEA4-E339EE8896A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1E59CB-5F39-462D-B61D-4A4C7D89DC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5033" y="2227416"/>
            <a:ext cx="5130998" cy="182985"/>
          </a:xfrm>
        </p:spPr>
        <p:txBody>
          <a:bodyPr wrap="square" tIns="14400">
            <a:spAutoFit/>
          </a:bodyPr>
          <a:lstStyle>
            <a:lvl1pPr>
              <a:spcBef>
                <a:spcPts val="0"/>
              </a:spcBef>
              <a:defRPr sz="1097">
                <a:solidFill>
                  <a:schemeClr val="accent3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43F9D-3345-4E29-AB08-377E0B10E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sz="609" dirty="0"/>
          </a:p>
        </p:txBody>
      </p:sp>
    </p:spTree>
    <p:extLst>
      <p:ext uri="{BB962C8B-B14F-4D97-AF65-F5344CB8AC3E}">
        <p14:creationId xmlns:p14="http://schemas.microsoft.com/office/powerpoint/2010/main" val="41478016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3" name="Text Placeholder 31">
            <a:extLst>
              <a:ext uri="{FF2B5EF4-FFF2-40B4-BE49-F238E27FC236}">
                <a16:creationId xmlns:a16="http://schemas.microsoft.com/office/drawing/2014/main" id="{3511C7BF-3840-4CE8-BB5B-C7B08391350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37088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14" name="Text Placeholder 18">
            <a:extLst>
              <a:ext uri="{FF2B5EF4-FFF2-40B4-BE49-F238E27FC236}">
                <a16:creationId xmlns:a16="http://schemas.microsoft.com/office/drawing/2014/main" id="{EFD58F2A-B07B-4D2B-8951-E00DDA67D76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802041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5" name="Text Placeholder 18">
            <a:extLst>
              <a:ext uri="{FF2B5EF4-FFF2-40B4-BE49-F238E27FC236}">
                <a16:creationId xmlns:a16="http://schemas.microsoft.com/office/drawing/2014/main" id="{A3AA694F-FB48-41A8-B07B-EC1F3B40C39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802040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0" name="Text Placeholder 18">
            <a:extLst>
              <a:ext uri="{FF2B5EF4-FFF2-40B4-BE49-F238E27FC236}">
                <a16:creationId xmlns:a16="http://schemas.microsoft.com/office/drawing/2014/main" id="{8465A35D-EC66-40E8-80CC-6934147C890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837254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3" name="Text Placeholder 31">
            <a:extLst>
              <a:ext uri="{FF2B5EF4-FFF2-40B4-BE49-F238E27FC236}">
                <a16:creationId xmlns:a16="http://schemas.microsoft.com/office/drawing/2014/main" id="{F5A26CFA-C26B-4F48-AFCC-68C933599A6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7212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4" name="Text Placeholder 18">
            <a:extLst>
              <a:ext uri="{FF2B5EF4-FFF2-40B4-BE49-F238E27FC236}">
                <a16:creationId xmlns:a16="http://schemas.microsoft.com/office/drawing/2014/main" id="{248854A8-0EED-4EC1-81BB-9B97B87D848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122165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5" name="Text Placeholder 18">
            <a:extLst>
              <a:ext uri="{FF2B5EF4-FFF2-40B4-BE49-F238E27FC236}">
                <a16:creationId xmlns:a16="http://schemas.microsoft.com/office/drawing/2014/main" id="{FF847E46-100F-4B85-ABC9-C63CBCF3D74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122164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6" name="Text Placeholder 18">
            <a:extLst>
              <a:ext uri="{FF2B5EF4-FFF2-40B4-BE49-F238E27FC236}">
                <a16:creationId xmlns:a16="http://schemas.microsoft.com/office/drawing/2014/main" id="{1EDAB9D3-F6BE-48C5-94F8-F0CEB0166F3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57378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7" name="Text Placeholder 31">
            <a:extLst>
              <a:ext uri="{FF2B5EF4-FFF2-40B4-BE49-F238E27FC236}">
                <a16:creationId xmlns:a16="http://schemas.microsoft.com/office/drawing/2014/main" id="{6FFEF1B8-6626-4B8C-86D2-FD64ECC7E0E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8" name="Text Placeholder 18">
            <a:extLst>
              <a:ext uri="{FF2B5EF4-FFF2-40B4-BE49-F238E27FC236}">
                <a16:creationId xmlns:a16="http://schemas.microsoft.com/office/drawing/2014/main" id="{5F1270D3-9E35-4323-99FB-4AA40123E72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9" name="Text Placeholder 18">
            <a:extLst>
              <a:ext uri="{FF2B5EF4-FFF2-40B4-BE49-F238E27FC236}">
                <a16:creationId xmlns:a16="http://schemas.microsoft.com/office/drawing/2014/main" id="{1C93CA53-2F3D-4CA4-A60D-15B2C8F9278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0" name="Text Placeholder 18">
            <a:extLst>
              <a:ext uri="{FF2B5EF4-FFF2-40B4-BE49-F238E27FC236}">
                <a16:creationId xmlns:a16="http://schemas.microsoft.com/office/drawing/2014/main" id="{93C6D7CE-3B53-4781-9604-D0FE8BEF0B5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1" name="Text Placeholder 31">
            <a:extLst>
              <a:ext uri="{FF2B5EF4-FFF2-40B4-BE49-F238E27FC236}">
                <a16:creationId xmlns:a16="http://schemas.microsoft.com/office/drawing/2014/main" id="{F09C8D30-46AD-4E01-B69D-ECF0E9639720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2" name="Text Placeholder 18">
            <a:extLst>
              <a:ext uri="{FF2B5EF4-FFF2-40B4-BE49-F238E27FC236}">
                <a16:creationId xmlns:a16="http://schemas.microsoft.com/office/drawing/2014/main" id="{6BBF8358-0312-4476-A379-4092F5096A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131FAF0A-F8E5-4E88-BBC2-856B2610CB5C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DF585C99-0360-4056-A9DA-37C046EC20F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2D049B-FF10-4FE9-B55A-5E1428FB2026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  <p:sp>
        <p:nvSpPr>
          <p:cNvPr id="21" name="Titre 3">
            <a:extLst>
              <a:ext uri="{FF2B5EF4-FFF2-40B4-BE49-F238E27FC236}">
                <a16:creationId xmlns:a16="http://schemas.microsoft.com/office/drawing/2014/main" id="{AE0B397F-537F-475A-B197-1EC9819F9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859135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2" name="Text Placeholder 31">
            <a:extLst>
              <a:ext uri="{FF2B5EF4-FFF2-40B4-BE49-F238E27FC236}">
                <a16:creationId xmlns:a16="http://schemas.microsoft.com/office/drawing/2014/main" id="{7EC72E04-62A6-456D-9129-8BFC76A3EA7B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3" name="Text Placeholder 18">
            <a:extLst>
              <a:ext uri="{FF2B5EF4-FFF2-40B4-BE49-F238E27FC236}">
                <a16:creationId xmlns:a16="http://schemas.microsoft.com/office/drawing/2014/main" id="{75D73ABA-CA4C-4758-A70B-18788A7152E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4" name="Text Placeholder 18">
            <a:extLst>
              <a:ext uri="{FF2B5EF4-FFF2-40B4-BE49-F238E27FC236}">
                <a16:creationId xmlns:a16="http://schemas.microsoft.com/office/drawing/2014/main" id="{46C41AE2-59D8-4B49-848B-EA4CBB402683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5" name="Text Placeholder 18">
            <a:extLst>
              <a:ext uri="{FF2B5EF4-FFF2-40B4-BE49-F238E27FC236}">
                <a16:creationId xmlns:a16="http://schemas.microsoft.com/office/drawing/2014/main" id="{2220B1D5-71D2-48C3-A929-898FF8C1F57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06" name="Text Placeholder 31">
            <a:extLst>
              <a:ext uri="{FF2B5EF4-FFF2-40B4-BE49-F238E27FC236}">
                <a16:creationId xmlns:a16="http://schemas.microsoft.com/office/drawing/2014/main" id="{E2D825A0-520D-4092-8235-41A32121B04E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7" name="Text Placeholder 18">
            <a:extLst>
              <a:ext uri="{FF2B5EF4-FFF2-40B4-BE49-F238E27FC236}">
                <a16:creationId xmlns:a16="http://schemas.microsoft.com/office/drawing/2014/main" id="{22E612C7-1A1F-493A-8A38-C03F18CC687E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24428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8" name="Text Placeholder 18">
            <a:extLst>
              <a:ext uri="{FF2B5EF4-FFF2-40B4-BE49-F238E27FC236}">
                <a16:creationId xmlns:a16="http://schemas.microsoft.com/office/drawing/2014/main" id="{649F1CE4-C3CE-4985-AD3E-FC4A4AC0C2B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4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9" name="Text Placeholder 18">
            <a:extLst>
              <a:ext uri="{FF2B5EF4-FFF2-40B4-BE49-F238E27FC236}">
                <a16:creationId xmlns:a16="http://schemas.microsoft.com/office/drawing/2014/main" id="{CB3A685A-DB20-4E5A-9F48-2108FDDDF82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5" name="Text Placeholder 31">
            <a:extLst>
              <a:ext uri="{FF2B5EF4-FFF2-40B4-BE49-F238E27FC236}">
                <a16:creationId xmlns:a16="http://schemas.microsoft.com/office/drawing/2014/main" id="{FB61BDCE-020E-4BCF-9B3C-320CC2C9B7A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26" name="Text Placeholder 18">
            <a:extLst>
              <a:ext uri="{FF2B5EF4-FFF2-40B4-BE49-F238E27FC236}">
                <a16:creationId xmlns:a16="http://schemas.microsoft.com/office/drawing/2014/main" id="{13C2CDE7-3771-468A-A640-29AA16C285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27" name="Text Placeholder 18">
            <a:extLst>
              <a:ext uri="{FF2B5EF4-FFF2-40B4-BE49-F238E27FC236}">
                <a16:creationId xmlns:a16="http://schemas.microsoft.com/office/drawing/2014/main" id="{831093BB-2135-4302-AD17-917734EC88A6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28" name="Text Placeholder 18">
            <a:extLst>
              <a:ext uri="{FF2B5EF4-FFF2-40B4-BE49-F238E27FC236}">
                <a16:creationId xmlns:a16="http://schemas.microsoft.com/office/drawing/2014/main" id="{EF93369E-2C3E-4EE7-8D1D-99C239A339E3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9" name="Text Placeholder 31">
            <a:extLst>
              <a:ext uri="{FF2B5EF4-FFF2-40B4-BE49-F238E27FC236}">
                <a16:creationId xmlns:a16="http://schemas.microsoft.com/office/drawing/2014/main" id="{C287AF80-AE6B-424F-8FDB-B11EF6A13FB2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1" name="Text Placeholder 18">
            <a:extLst>
              <a:ext uri="{FF2B5EF4-FFF2-40B4-BE49-F238E27FC236}">
                <a16:creationId xmlns:a16="http://schemas.microsoft.com/office/drawing/2014/main" id="{61424F3E-758A-41A8-BED0-46CF7C78F3D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1" y="324428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2" name="Text Placeholder 18">
            <a:extLst>
              <a:ext uri="{FF2B5EF4-FFF2-40B4-BE49-F238E27FC236}">
                <a16:creationId xmlns:a16="http://schemas.microsoft.com/office/drawing/2014/main" id="{C48A6046-5F7C-45C3-832A-2C969ACC9C87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7" name="Text Placeholder 18">
            <a:extLst>
              <a:ext uri="{FF2B5EF4-FFF2-40B4-BE49-F238E27FC236}">
                <a16:creationId xmlns:a16="http://schemas.microsoft.com/office/drawing/2014/main" id="{27D74F4C-9A89-4C62-9FBF-A53BF21FC90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2" name="Text Placeholder 31">
            <a:extLst>
              <a:ext uri="{FF2B5EF4-FFF2-40B4-BE49-F238E27FC236}">
                <a16:creationId xmlns:a16="http://schemas.microsoft.com/office/drawing/2014/main" id="{BD95E687-7F93-472F-98D4-EC938AA6550F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025B0146-CB38-42F3-839F-A26A6143E0F2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478310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A284474C-E457-4B47-BD17-F5D8229E4172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4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5" name="Text Placeholder 18">
            <a:extLst>
              <a:ext uri="{FF2B5EF4-FFF2-40B4-BE49-F238E27FC236}">
                <a16:creationId xmlns:a16="http://schemas.microsoft.com/office/drawing/2014/main" id="{BD29F203-3EED-448C-9A44-6A9AF6E4D1AE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6" name="Text Placeholder 31">
            <a:extLst>
              <a:ext uri="{FF2B5EF4-FFF2-40B4-BE49-F238E27FC236}">
                <a16:creationId xmlns:a16="http://schemas.microsoft.com/office/drawing/2014/main" id="{37A450F0-202F-4585-8D10-F0C9C63E8342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7" name="Text Placeholder 18">
            <a:extLst>
              <a:ext uri="{FF2B5EF4-FFF2-40B4-BE49-F238E27FC236}">
                <a16:creationId xmlns:a16="http://schemas.microsoft.com/office/drawing/2014/main" id="{F15D7F17-C51A-401A-B45B-C0DD68E1A185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1" y="478310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8" name="Text Placeholder 18">
            <a:extLst>
              <a:ext uri="{FF2B5EF4-FFF2-40B4-BE49-F238E27FC236}">
                <a16:creationId xmlns:a16="http://schemas.microsoft.com/office/drawing/2014/main" id="{EA613244-6AF1-4BED-B339-59144E1E2378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9" name="Text Placeholder 18">
            <a:extLst>
              <a:ext uri="{FF2B5EF4-FFF2-40B4-BE49-F238E27FC236}">
                <a16:creationId xmlns:a16="http://schemas.microsoft.com/office/drawing/2014/main" id="{015CB9AD-585C-4445-80B0-B9C7F59AD015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4F7EFA-6F22-4F7A-86D6-B9B9EFDEBF45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  <p:sp>
        <p:nvSpPr>
          <p:cNvPr id="29" name="Titre 3">
            <a:extLst>
              <a:ext uri="{FF2B5EF4-FFF2-40B4-BE49-F238E27FC236}">
                <a16:creationId xmlns:a16="http://schemas.microsoft.com/office/drawing/2014/main" id="{EC744315-8B20-4BBE-A882-04AFDA114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3819620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28FBECDA-E756-436B-A2DF-561D7CBEB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7212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D29DD076-5F15-437B-BFD1-4316097E0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2165" y="170821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1" name="Text Placeholder 18">
            <a:extLst>
              <a:ext uri="{FF2B5EF4-FFF2-40B4-BE49-F238E27FC236}">
                <a16:creationId xmlns:a16="http://schemas.microsoft.com/office/drawing/2014/main" id="{2B1B91FE-791C-486B-BB38-16A0BC617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2164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1AD460FF-7D8C-43FC-A584-F7A2A0070B2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57378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6196209E-A760-418E-ABA2-4DD925C316F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6316DC73-28D4-4F73-B949-6F6F5D61C2F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266828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E6BEF16F-6B19-411C-B67C-B5AA0800E01A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6" name="Text Placeholder 18">
            <a:extLst>
              <a:ext uri="{FF2B5EF4-FFF2-40B4-BE49-F238E27FC236}">
                <a16:creationId xmlns:a16="http://schemas.microsoft.com/office/drawing/2014/main" id="{898B7DDA-82C5-4103-8C26-5F9811B20C9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7DA447D7-A877-45B8-B6FB-AE90751E8876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8" name="Text Placeholder 18">
            <a:extLst>
              <a:ext uri="{FF2B5EF4-FFF2-40B4-BE49-F238E27FC236}">
                <a16:creationId xmlns:a16="http://schemas.microsoft.com/office/drawing/2014/main" id="{CFE91535-724D-49F0-92FE-8CAB5C480A1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62589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3D27B957-835E-4BF0-9537-A1AC3D952B2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4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0" name="Text Placeholder 18">
            <a:extLst>
              <a:ext uri="{FF2B5EF4-FFF2-40B4-BE49-F238E27FC236}">
                <a16:creationId xmlns:a16="http://schemas.microsoft.com/office/drawing/2014/main" id="{F84C2754-E4E9-4354-B6CB-7B5B7AA5A828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8C74BB45-5D6F-48E6-9347-96EE0CC93A2A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57212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2" name="Text Placeholder 18">
            <a:extLst>
              <a:ext uri="{FF2B5EF4-FFF2-40B4-BE49-F238E27FC236}">
                <a16:creationId xmlns:a16="http://schemas.microsoft.com/office/drawing/2014/main" id="{BCD1C6AA-1F9C-4210-9D36-274FD1A6AE79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1122165" y="458350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3" name="Text Placeholder 18">
            <a:extLst>
              <a:ext uri="{FF2B5EF4-FFF2-40B4-BE49-F238E27FC236}">
                <a16:creationId xmlns:a16="http://schemas.microsoft.com/office/drawing/2014/main" id="{D180E97C-CAF1-4493-AD31-C1A8E60EAEF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122164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4" name="Text Placeholder 18">
            <a:extLst>
              <a:ext uri="{FF2B5EF4-FFF2-40B4-BE49-F238E27FC236}">
                <a16:creationId xmlns:a16="http://schemas.microsoft.com/office/drawing/2014/main" id="{7FE91E81-87F3-42A4-9446-8670F0C28A15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157378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5" name="Text Placeholder 31">
            <a:extLst>
              <a:ext uri="{FF2B5EF4-FFF2-40B4-BE49-F238E27FC236}">
                <a16:creationId xmlns:a16="http://schemas.microsoft.com/office/drawing/2014/main" id="{EDFC2B06-95E3-4B46-9D78-C5B889187574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237088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6" name="Text Placeholder 18">
            <a:extLst>
              <a:ext uri="{FF2B5EF4-FFF2-40B4-BE49-F238E27FC236}">
                <a16:creationId xmlns:a16="http://schemas.microsoft.com/office/drawing/2014/main" id="{5C8CF654-7CDC-4671-BA3F-6E43C2F3D930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802041" y="170821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7" name="Text Placeholder 18">
            <a:extLst>
              <a:ext uri="{FF2B5EF4-FFF2-40B4-BE49-F238E27FC236}">
                <a16:creationId xmlns:a16="http://schemas.microsoft.com/office/drawing/2014/main" id="{AA689F23-6793-46A5-BC3A-C3C394EB61B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802040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8" name="Text Placeholder 18">
            <a:extLst>
              <a:ext uri="{FF2B5EF4-FFF2-40B4-BE49-F238E27FC236}">
                <a16:creationId xmlns:a16="http://schemas.microsoft.com/office/drawing/2014/main" id="{ED61CF7D-5129-427A-9E6A-C2D5A0108EF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3" name="Text Placeholder 18">
            <a:extLst>
              <a:ext uri="{FF2B5EF4-FFF2-40B4-BE49-F238E27FC236}">
                <a16:creationId xmlns:a16="http://schemas.microsoft.com/office/drawing/2014/main" id="{C7919060-BAE1-42EF-8A05-3D8F26EC8E7B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4" name="Text Placeholder 31">
            <a:extLst>
              <a:ext uri="{FF2B5EF4-FFF2-40B4-BE49-F238E27FC236}">
                <a16:creationId xmlns:a16="http://schemas.microsoft.com/office/drawing/2014/main" id="{DA0FFCE8-6B8A-4E0A-9547-C340275471AA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85" name="Text Placeholder 18">
            <a:extLst>
              <a:ext uri="{FF2B5EF4-FFF2-40B4-BE49-F238E27FC236}">
                <a16:creationId xmlns:a16="http://schemas.microsoft.com/office/drawing/2014/main" id="{B46C006F-C71D-4DE1-A056-5B3A93CF50D9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266828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C3771224-2466-4D8A-A811-964F73AA6409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89" name="Text Placeholder 18">
            <a:extLst>
              <a:ext uri="{FF2B5EF4-FFF2-40B4-BE49-F238E27FC236}">
                <a16:creationId xmlns:a16="http://schemas.microsoft.com/office/drawing/2014/main" id="{76FE5254-0432-4E51-B71F-918A5A083FA8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0" name="Text Placeholder 31">
            <a:extLst>
              <a:ext uri="{FF2B5EF4-FFF2-40B4-BE49-F238E27FC236}">
                <a16:creationId xmlns:a16="http://schemas.microsoft.com/office/drawing/2014/main" id="{77CAFDB0-A524-4811-9A5F-832074D34A45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1" name="Text Placeholder 18">
            <a:extLst>
              <a:ext uri="{FF2B5EF4-FFF2-40B4-BE49-F238E27FC236}">
                <a16:creationId xmlns:a16="http://schemas.microsoft.com/office/drawing/2014/main" id="{2F7D0EC5-CECB-4014-B06D-B2DBCBFBBF3D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1" y="362589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2" name="Text Placeholder 18">
            <a:extLst>
              <a:ext uri="{FF2B5EF4-FFF2-40B4-BE49-F238E27FC236}">
                <a16:creationId xmlns:a16="http://schemas.microsoft.com/office/drawing/2014/main" id="{8751CD9A-A0F4-4CC8-8C88-10310AE524D6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3" name="Text Placeholder 18">
            <a:extLst>
              <a:ext uri="{FF2B5EF4-FFF2-40B4-BE49-F238E27FC236}">
                <a16:creationId xmlns:a16="http://schemas.microsoft.com/office/drawing/2014/main" id="{26FADFFE-C225-4705-860D-DF5D47B6C04F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4" name="Text Placeholder 31">
            <a:extLst>
              <a:ext uri="{FF2B5EF4-FFF2-40B4-BE49-F238E27FC236}">
                <a16:creationId xmlns:a16="http://schemas.microsoft.com/office/drawing/2014/main" id="{ED08C253-1799-4939-89C2-67FE0903595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5237088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5" name="Text Placeholder 18">
            <a:extLst>
              <a:ext uri="{FF2B5EF4-FFF2-40B4-BE49-F238E27FC236}">
                <a16:creationId xmlns:a16="http://schemas.microsoft.com/office/drawing/2014/main" id="{BA8F5A1C-3DDB-4EB6-A07B-B7ACBC8A5ACC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5802041" y="458350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6" name="Text Placeholder 18">
            <a:extLst>
              <a:ext uri="{FF2B5EF4-FFF2-40B4-BE49-F238E27FC236}">
                <a16:creationId xmlns:a16="http://schemas.microsoft.com/office/drawing/2014/main" id="{C6330ADC-D7C7-4EFD-8348-FF37C7A173BC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5802040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7" name="Text Placeholder 18">
            <a:extLst>
              <a:ext uri="{FF2B5EF4-FFF2-40B4-BE49-F238E27FC236}">
                <a16:creationId xmlns:a16="http://schemas.microsoft.com/office/drawing/2014/main" id="{81AE0480-C514-4AD9-8691-694E141EE29E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8837254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9" name="Text Placeholder 31">
            <a:extLst>
              <a:ext uri="{FF2B5EF4-FFF2-40B4-BE49-F238E27FC236}">
                <a16:creationId xmlns:a16="http://schemas.microsoft.com/office/drawing/2014/main" id="{7268FDA8-F92E-4936-B990-FD4E9F0CC01D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37FDC6EC-A640-488F-9644-3FDD22493BD3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5540673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1873EAFB-A062-4833-B06F-62FD2E7C3DF9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4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2" name="Text Placeholder 18">
            <a:extLst>
              <a:ext uri="{FF2B5EF4-FFF2-40B4-BE49-F238E27FC236}">
                <a16:creationId xmlns:a16="http://schemas.microsoft.com/office/drawing/2014/main" id="{EE221A43-C270-4544-94DF-1ABABF451BBD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3" name="Text Placeholder 31">
            <a:extLst>
              <a:ext uri="{FF2B5EF4-FFF2-40B4-BE49-F238E27FC236}">
                <a16:creationId xmlns:a16="http://schemas.microsoft.com/office/drawing/2014/main" id="{9D8E4515-6F96-4F02-B988-811445E2351C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A17A929F-E044-48C5-9DD8-B47C3EF2AE1C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1" y="5540673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5D5ECF6A-91FB-4513-9425-F01C4C10BAB1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2F7DB677-C811-448B-9E9D-A05B83375084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3DF68-D79F-4DB1-B4FD-A39341DF1E94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  <p:sp>
        <p:nvSpPr>
          <p:cNvPr id="47" name="Titre 3">
            <a:extLst>
              <a:ext uri="{FF2B5EF4-FFF2-40B4-BE49-F238E27FC236}">
                <a16:creationId xmlns:a16="http://schemas.microsoft.com/office/drawing/2014/main" id="{44057687-C51E-48EF-8ABC-CF8D8466D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5730361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rgbClr val="005473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040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" descr="img_meia_puzz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67301"/>
            <a:ext cx="9906000" cy="17983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336" y="6093107"/>
            <a:ext cx="784356" cy="52560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469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8824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tx2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2" name="Holder 2">
            <a:extLst>
              <a:ext uri="{FF2B5EF4-FFF2-40B4-BE49-F238E27FC236}">
                <a16:creationId xmlns:a16="http://schemas.microsoft.com/office/drawing/2014/main" id="{85B5B0C2-1E62-4343-9450-2B0AC120F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43129-780B-4E39-9EAF-CD2ED887D3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84525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Sub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5112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3986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older 2">
            <a:extLst>
              <a:ext uri="{FF2B5EF4-FFF2-40B4-BE49-F238E27FC236}">
                <a16:creationId xmlns:a16="http://schemas.microsoft.com/office/drawing/2014/main" id="{76858CF1-1FE0-48C5-9C43-47EFD7F92F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1ABED16D-E05F-4052-AFDC-7D0B069E48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B56387-D400-4873-990C-66F86EBA3E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9EE1458B-1ACC-4A60-A6DA-3A183AD4A703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14AF817-4FA3-4511-BF85-552078C6E679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C87F872C-9C1D-4419-83CD-C89DB3A9AD0E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</p:spTree>
    <p:extLst>
      <p:ext uri="{BB962C8B-B14F-4D97-AF65-F5344CB8AC3E}">
        <p14:creationId xmlns:p14="http://schemas.microsoft.com/office/powerpoint/2010/main" val="29805990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74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372477"/>
          </a:xfr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7596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146CF11-ED2C-4591-88BE-369AC6EB33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23868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2ED684-1935-43C9-97F6-7524175924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3815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832D763-A691-4EC4-9C13-3AFE8C77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65735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32815573-BF96-4315-998A-9A2D6B6189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1995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7E27E1-2C18-42F3-914E-B1AF02DA0F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62517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48C2F0-8F0D-4C02-9F19-6DF2108E0F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759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047226"/>
            <a:ext cx="9906000" cy="1810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225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A6FBA34-91D9-42CD-A3FE-DC53ABE99F6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31606" y="2057400"/>
            <a:ext cx="4117181" cy="4102899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BF8A56-100E-4902-968B-3CDFE43D67D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8814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5755A9E-B5F9-42B8-A663-09F0B19A19E0}"/>
              </a:ext>
            </a:extLst>
          </p:cNvPr>
          <p:cNvSpPr/>
          <p:nvPr userDrawn="1"/>
        </p:nvSpPr>
        <p:spPr>
          <a:xfrm>
            <a:off x="0" y="0"/>
            <a:ext cx="32194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1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3DC93F4-A945-42B6-9692-126B44277D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7999"/>
          </a:xfrm>
          <a:custGeom>
            <a:avLst/>
            <a:gdLst>
              <a:gd name="connsiteX0" fmla="*/ 0 w 5283200"/>
              <a:gd name="connsiteY0" fmla="*/ 0 h 9143998"/>
              <a:gd name="connsiteX1" fmla="*/ 3454400 w 5283200"/>
              <a:gd name="connsiteY1" fmla="*/ 0 h 9143998"/>
              <a:gd name="connsiteX2" fmla="*/ 3454400 w 5283200"/>
              <a:gd name="connsiteY2" fmla="*/ 914400 h 9143998"/>
              <a:gd name="connsiteX3" fmla="*/ 4368800 w 5283200"/>
              <a:gd name="connsiteY3" fmla="*/ 914400 h 9143998"/>
              <a:gd name="connsiteX4" fmla="*/ 4368800 w 5283200"/>
              <a:gd name="connsiteY4" fmla="*/ 1828800 h 9143998"/>
              <a:gd name="connsiteX5" fmla="*/ 5283200 w 5283200"/>
              <a:gd name="connsiteY5" fmla="*/ 1828800 h 9143998"/>
              <a:gd name="connsiteX6" fmla="*/ 5283200 w 5283200"/>
              <a:gd name="connsiteY6" fmla="*/ 9143998 h 9143998"/>
              <a:gd name="connsiteX7" fmla="*/ 0 w 5283200"/>
              <a:gd name="connsiteY7" fmla="*/ 9143998 h 9143998"/>
              <a:gd name="connsiteX8" fmla="*/ 0 w 5283200"/>
              <a:gd name="connsiteY8" fmla="*/ 9143403 h 9143998"/>
              <a:gd name="connsiteX9" fmla="*/ 912533 w 5283200"/>
              <a:gd name="connsiteY9" fmla="*/ 9143403 h 9143998"/>
              <a:gd name="connsiteX10" fmla="*/ 912533 w 5283200"/>
              <a:gd name="connsiteY10" fmla="*/ 8230869 h 9143998"/>
              <a:gd name="connsiteX11" fmla="*/ 0 w 5283200"/>
              <a:gd name="connsiteY11" fmla="*/ 8230869 h 9143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83200" h="9143998">
                <a:moveTo>
                  <a:pt x="0" y="0"/>
                </a:moveTo>
                <a:lnTo>
                  <a:pt x="3454400" y="0"/>
                </a:lnTo>
                <a:lnTo>
                  <a:pt x="3454400" y="914400"/>
                </a:lnTo>
                <a:lnTo>
                  <a:pt x="4368800" y="914400"/>
                </a:lnTo>
                <a:lnTo>
                  <a:pt x="4368800" y="1828800"/>
                </a:lnTo>
                <a:lnTo>
                  <a:pt x="5283200" y="1828800"/>
                </a:lnTo>
                <a:lnTo>
                  <a:pt x="5283200" y="9143998"/>
                </a:lnTo>
                <a:lnTo>
                  <a:pt x="0" y="9143998"/>
                </a:lnTo>
                <a:lnTo>
                  <a:pt x="0" y="9143403"/>
                </a:lnTo>
                <a:lnTo>
                  <a:pt x="912533" y="9143403"/>
                </a:lnTo>
                <a:lnTo>
                  <a:pt x="912533" y="8230869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3" y="697701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7222AF-D59D-4EB8-BA6C-7217DC9168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6397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E4A3B4F-5311-4EE8-988B-706C2D0D244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8000"/>
          </a:xfrm>
          <a:custGeom>
            <a:avLst/>
            <a:gdLst>
              <a:gd name="connsiteX0" fmla="*/ 0 w 5283200"/>
              <a:gd name="connsiteY0" fmla="*/ 0 h 9144000"/>
              <a:gd name="connsiteX1" fmla="*/ 3454400 w 5283200"/>
              <a:gd name="connsiteY1" fmla="*/ 0 h 9144000"/>
              <a:gd name="connsiteX2" fmla="*/ 5283200 w 5283200"/>
              <a:gd name="connsiteY2" fmla="*/ 0 h 9144000"/>
              <a:gd name="connsiteX3" fmla="*/ 5283200 w 5283200"/>
              <a:gd name="connsiteY3" fmla="*/ 1828800 h 9144000"/>
              <a:gd name="connsiteX4" fmla="*/ 5283200 w 5283200"/>
              <a:gd name="connsiteY4" fmla="*/ 3657599 h 9144000"/>
              <a:gd name="connsiteX5" fmla="*/ 4368800 w 5283200"/>
              <a:gd name="connsiteY5" fmla="*/ 3657599 h 9144000"/>
              <a:gd name="connsiteX6" fmla="*/ 4368800 w 5283200"/>
              <a:gd name="connsiteY6" fmla="*/ 4571999 h 9144000"/>
              <a:gd name="connsiteX7" fmla="*/ 3454400 w 5283200"/>
              <a:gd name="connsiteY7" fmla="*/ 4571999 h 9144000"/>
              <a:gd name="connsiteX8" fmla="*/ 3454400 w 5283200"/>
              <a:gd name="connsiteY8" fmla="*/ 5486399 h 9144000"/>
              <a:gd name="connsiteX9" fmla="*/ 4368800 w 5283200"/>
              <a:gd name="connsiteY9" fmla="*/ 5486399 h 9144000"/>
              <a:gd name="connsiteX10" fmla="*/ 4368800 w 5283200"/>
              <a:gd name="connsiteY10" fmla="*/ 4571999 h 9144000"/>
              <a:gd name="connsiteX11" fmla="*/ 5283200 w 5283200"/>
              <a:gd name="connsiteY11" fmla="*/ 4571999 h 9144000"/>
              <a:gd name="connsiteX12" fmla="*/ 5283200 w 5283200"/>
              <a:gd name="connsiteY12" fmla="*/ 9143998 h 9144000"/>
              <a:gd name="connsiteX13" fmla="*/ 5283200 w 5283200"/>
              <a:gd name="connsiteY13" fmla="*/ 9144000 h 9144000"/>
              <a:gd name="connsiteX14" fmla="*/ 0 w 5283200"/>
              <a:gd name="connsiteY14" fmla="*/ 9144000 h 9144000"/>
              <a:gd name="connsiteX15" fmla="*/ 0 w 5283200"/>
              <a:gd name="connsiteY15" fmla="*/ 9143998 h 9144000"/>
              <a:gd name="connsiteX16" fmla="*/ 0 w 5283200"/>
              <a:gd name="connsiteY16" fmla="*/ 9143403 h 9144000"/>
              <a:gd name="connsiteX17" fmla="*/ 0 w 5283200"/>
              <a:gd name="connsiteY17" fmla="*/ 8230869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283200" h="9144000">
                <a:moveTo>
                  <a:pt x="0" y="0"/>
                </a:moveTo>
                <a:lnTo>
                  <a:pt x="3454400" y="0"/>
                </a:lnTo>
                <a:lnTo>
                  <a:pt x="5283200" y="0"/>
                </a:lnTo>
                <a:lnTo>
                  <a:pt x="5283200" y="1828800"/>
                </a:lnTo>
                <a:lnTo>
                  <a:pt x="5283200" y="3657599"/>
                </a:lnTo>
                <a:lnTo>
                  <a:pt x="4368800" y="3657599"/>
                </a:lnTo>
                <a:lnTo>
                  <a:pt x="4368800" y="4571999"/>
                </a:lnTo>
                <a:lnTo>
                  <a:pt x="3454400" y="4571999"/>
                </a:lnTo>
                <a:lnTo>
                  <a:pt x="3454400" y="5486399"/>
                </a:lnTo>
                <a:lnTo>
                  <a:pt x="4368800" y="5486399"/>
                </a:lnTo>
                <a:lnTo>
                  <a:pt x="4368800" y="4571999"/>
                </a:lnTo>
                <a:lnTo>
                  <a:pt x="5283200" y="4571999"/>
                </a:lnTo>
                <a:lnTo>
                  <a:pt x="5283200" y="9143998"/>
                </a:lnTo>
                <a:lnTo>
                  <a:pt x="5283200" y="9144000"/>
                </a:lnTo>
                <a:lnTo>
                  <a:pt x="0" y="9144000"/>
                </a:lnTo>
                <a:lnTo>
                  <a:pt x="0" y="9143998"/>
                </a:lnTo>
                <a:lnTo>
                  <a:pt x="0" y="9143403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3" y="697701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41779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0B7646-0E4D-436E-80FB-4FABC82744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944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C8E13DE4-5314-44E1-9E54-71B64E53C8D6}"/>
              </a:ext>
            </a:extLst>
          </p:cNvPr>
          <p:cNvSpPr/>
          <p:nvPr userDrawn="1"/>
        </p:nvSpPr>
        <p:spPr>
          <a:xfrm>
            <a:off x="3219450" y="411480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33875" y="2743200"/>
            <a:ext cx="5014913" cy="3428999"/>
          </a:xfrm>
          <a:solidFill>
            <a:schemeClr val="bg1"/>
          </a:solidFill>
        </p:spPr>
        <p:txBody>
          <a:bodyPr wrap="square" lIns="378000" tIns="39600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pic>
        <p:nvPicPr>
          <p:cNvPr id="5" name="Graphique 30">
            <a:extLst>
              <a:ext uri="{FF2B5EF4-FFF2-40B4-BE49-F238E27FC236}">
                <a16:creationId xmlns:a16="http://schemas.microsoft.com/office/drawing/2014/main" id="{E0424D29-3A81-4B93-B976-4CFAA6EE35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992156-85B6-4A34-BE33-8131FE99998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2419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FC103ADA-D47B-4E9B-AEDE-C787C53F5E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37197" y="3895801"/>
            <a:ext cx="1143446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EF4B44C-FC5F-4865-A2CA-6AD146697A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87416" y="3895801"/>
            <a:ext cx="1143446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132F59FA-5C54-4BEE-A151-61D1A5F550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47991" y="3802008"/>
            <a:ext cx="594604" cy="675798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AF6ED36D-FDAC-4123-A48A-812DD31A9EE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0086" y="3764498"/>
            <a:ext cx="609863" cy="7506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BD0662-49C5-48D6-8BC7-54C5A23568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970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31C329BC-FFDC-4CD3-ABE4-D824343B7B3C}"/>
              </a:ext>
            </a:extLst>
          </p:cNvPr>
          <p:cNvSpPr/>
          <p:nvPr userDrawn="1"/>
        </p:nvSpPr>
        <p:spPr>
          <a:xfrm>
            <a:off x="8408712" y="739971"/>
            <a:ext cx="765780" cy="69056"/>
          </a:xfrm>
          <a:custGeom>
            <a:avLst/>
            <a:gdLst/>
            <a:ahLst/>
            <a:cxnLst/>
            <a:rect l="l" t="t" r="r" b="b"/>
            <a:pathLst>
              <a:path w="1256665" h="92075">
                <a:moveTo>
                  <a:pt x="1158062" y="19088"/>
                </a:moveTo>
                <a:lnTo>
                  <a:pt x="1141564" y="19088"/>
                </a:lnTo>
                <a:lnTo>
                  <a:pt x="1164450" y="69951"/>
                </a:lnTo>
                <a:lnTo>
                  <a:pt x="1184147" y="69951"/>
                </a:lnTo>
                <a:lnTo>
                  <a:pt x="1189028" y="58381"/>
                </a:lnTo>
                <a:lnTo>
                  <a:pt x="1174737" y="58381"/>
                </a:lnTo>
                <a:lnTo>
                  <a:pt x="1158062" y="19088"/>
                </a:lnTo>
                <a:close/>
              </a:path>
              <a:path w="1256665" h="92075">
                <a:moveTo>
                  <a:pt x="1214012" y="34544"/>
                </a:moveTo>
                <a:lnTo>
                  <a:pt x="1199083" y="34544"/>
                </a:lnTo>
                <a:lnTo>
                  <a:pt x="1214005" y="69951"/>
                </a:lnTo>
                <a:lnTo>
                  <a:pt x="1233703" y="69951"/>
                </a:lnTo>
                <a:lnTo>
                  <a:pt x="1238949" y="58293"/>
                </a:lnTo>
                <a:lnTo>
                  <a:pt x="1223429" y="58293"/>
                </a:lnTo>
                <a:lnTo>
                  <a:pt x="1214012" y="34544"/>
                </a:lnTo>
                <a:close/>
              </a:path>
              <a:path w="1256665" h="92075">
                <a:moveTo>
                  <a:pt x="1207884" y="19088"/>
                </a:moveTo>
                <a:lnTo>
                  <a:pt x="1190269" y="19088"/>
                </a:lnTo>
                <a:lnTo>
                  <a:pt x="1174737" y="58381"/>
                </a:lnTo>
                <a:lnTo>
                  <a:pt x="1189028" y="58381"/>
                </a:lnTo>
                <a:lnTo>
                  <a:pt x="1199083" y="34544"/>
                </a:lnTo>
                <a:lnTo>
                  <a:pt x="1214012" y="34544"/>
                </a:lnTo>
                <a:lnTo>
                  <a:pt x="1207884" y="19088"/>
                </a:lnTo>
                <a:close/>
              </a:path>
              <a:path w="1256665" h="92075">
                <a:moveTo>
                  <a:pt x="1256588" y="19088"/>
                </a:moveTo>
                <a:lnTo>
                  <a:pt x="1240091" y="19088"/>
                </a:lnTo>
                <a:lnTo>
                  <a:pt x="1223429" y="58293"/>
                </a:lnTo>
                <a:lnTo>
                  <a:pt x="1238949" y="58293"/>
                </a:lnTo>
                <a:lnTo>
                  <a:pt x="1256588" y="19088"/>
                </a:lnTo>
                <a:close/>
              </a:path>
              <a:path w="1256665" h="92075">
                <a:moveTo>
                  <a:pt x="1104366" y="18224"/>
                </a:moveTo>
                <a:lnTo>
                  <a:pt x="1089978" y="19704"/>
                </a:lnTo>
                <a:lnTo>
                  <a:pt x="1078855" y="24364"/>
                </a:lnTo>
                <a:lnTo>
                  <a:pt x="1071680" y="32540"/>
                </a:lnTo>
                <a:lnTo>
                  <a:pt x="1069136" y="44564"/>
                </a:lnTo>
                <a:lnTo>
                  <a:pt x="1071680" y="56531"/>
                </a:lnTo>
                <a:lnTo>
                  <a:pt x="1078855" y="64681"/>
                </a:lnTo>
                <a:lnTo>
                  <a:pt x="1089978" y="69335"/>
                </a:lnTo>
                <a:lnTo>
                  <a:pt x="1104366" y="70815"/>
                </a:lnTo>
                <a:lnTo>
                  <a:pt x="1118724" y="69335"/>
                </a:lnTo>
                <a:lnTo>
                  <a:pt x="1129855" y="64681"/>
                </a:lnTo>
                <a:lnTo>
                  <a:pt x="1135351" y="58458"/>
                </a:lnTo>
                <a:lnTo>
                  <a:pt x="1090637" y="58458"/>
                </a:lnTo>
                <a:lnTo>
                  <a:pt x="1083906" y="55092"/>
                </a:lnTo>
                <a:lnTo>
                  <a:pt x="1083906" y="33934"/>
                </a:lnTo>
                <a:lnTo>
                  <a:pt x="1090637" y="30568"/>
                </a:lnTo>
                <a:lnTo>
                  <a:pt x="1135317" y="30568"/>
                </a:lnTo>
                <a:lnTo>
                  <a:pt x="1129855" y="24364"/>
                </a:lnTo>
                <a:lnTo>
                  <a:pt x="1118724" y="19704"/>
                </a:lnTo>
                <a:lnTo>
                  <a:pt x="1104366" y="18224"/>
                </a:lnTo>
                <a:close/>
              </a:path>
              <a:path w="1256665" h="92075">
                <a:moveTo>
                  <a:pt x="1135317" y="30568"/>
                </a:moveTo>
                <a:lnTo>
                  <a:pt x="1118019" y="30568"/>
                </a:lnTo>
                <a:lnTo>
                  <a:pt x="1124750" y="33934"/>
                </a:lnTo>
                <a:lnTo>
                  <a:pt x="1124750" y="55092"/>
                </a:lnTo>
                <a:lnTo>
                  <a:pt x="1118019" y="58458"/>
                </a:lnTo>
                <a:lnTo>
                  <a:pt x="1135351" y="58458"/>
                </a:lnTo>
                <a:lnTo>
                  <a:pt x="1137052" y="56531"/>
                </a:lnTo>
                <a:lnTo>
                  <a:pt x="1139609" y="44564"/>
                </a:lnTo>
                <a:lnTo>
                  <a:pt x="1137052" y="32540"/>
                </a:lnTo>
                <a:lnTo>
                  <a:pt x="1135317" y="30568"/>
                </a:lnTo>
                <a:close/>
              </a:path>
              <a:path w="1256665" h="92075">
                <a:moveTo>
                  <a:pt x="1058354" y="863"/>
                </a:moveTo>
                <a:lnTo>
                  <a:pt x="1043584" y="863"/>
                </a:lnTo>
                <a:lnTo>
                  <a:pt x="1043584" y="69951"/>
                </a:lnTo>
                <a:lnTo>
                  <a:pt x="1058354" y="69951"/>
                </a:lnTo>
                <a:lnTo>
                  <a:pt x="1058354" y="863"/>
                </a:lnTo>
                <a:close/>
              </a:path>
              <a:path w="1256665" h="92075">
                <a:moveTo>
                  <a:pt x="1011313" y="31432"/>
                </a:moveTo>
                <a:lnTo>
                  <a:pt x="996467" y="31432"/>
                </a:lnTo>
                <a:lnTo>
                  <a:pt x="996467" y="69951"/>
                </a:lnTo>
                <a:lnTo>
                  <a:pt x="1011313" y="69951"/>
                </a:lnTo>
                <a:lnTo>
                  <a:pt x="1011313" y="31432"/>
                </a:lnTo>
                <a:close/>
              </a:path>
              <a:path w="1256665" h="92075">
                <a:moveTo>
                  <a:pt x="1032814" y="19088"/>
                </a:moveTo>
                <a:lnTo>
                  <a:pt x="983081" y="19088"/>
                </a:lnTo>
                <a:lnTo>
                  <a:pt x="983081" y="31432"/>
                </a:lnTo>
                <a:lnTo>
                  <a:pt x="1032814" y="31432"/>
                </a:lnTo>
                <a:lnTo>
                  <a:pt x="1032814" y="19088"/>
                </a:lnTo>
                <a:close/>
              </a:path>
              <a:path w="1256665" h="92075">
                <a:moveTo>
                  <a:pt x="1025296" y="0"/>
                </a:moveTo>
                <a:lnTo>
                  <a:pt x="1017523" y="0"/>
                </a:lnTo>
                <a:lnTo>
                  <a:pt x="1007970" y="931"/>
                </a:lnTo>
                <a:lnTo>
                  <a:pt x="1001428" y="3759"/>
                </a:lnTo>
                <a:lnTo>
                  <a:pt x="997669" y="8529"/>
                </a:lnTo>
                <a:lnTo>
                  <a:pt x="996467" y="15290"/>
                </a:lnTo>
                <a:lnTo>
                  <a:pt x="996467" y="19088"/>
                </a:lnTo>
                <a:lnTo>
                  <a:pt x="1011313" y="19088"/>
                </a:lnTo>
                <a:lnTo>
                  <a:pt x="1011567" y="12700"/>
                </a:lnTo>
                <a:lnTo>
                  <a:pt x="1013726" y="10883"/>
                </a:lnTo>
                <a:lnTo>
                  <a:pt x="1032814" y="10883"/>
                </a:lnTo>
                <a:lnTo>
                  <a:pt x="1032814" y="863"/>
                </a:lnTo>
                <a:lnTo>
                  <a:pt x="1025296" y="0"/>
                </a:lnTo>
                <a:close/>
              </a:path>
              <a:path w="1256665" h="92075">
                <a:moveTo>
                  <a:pt x="1032814" y="10883"/>
                </a:moveTo>
                <a:lnTo>
                  <a:pt x="1025994" y="10883"/>
                </a:lnTo>
                <a:lnTo>
                  <a:pt x="1029449" y="11061"/>
                </a:lnTo>
                <a:lnTo>
                  <a:pt x="1032814" y="11315"/>
                </a:lnTo>
                <a:lnTo>
                  <a:pt x="1032814" y="10883"/>
                </a:lnTo>
                <a:close/>
              </a:path>
              <a:path w="1256665" h="92075">
                <a:moveTo>
                  <a:pt x="926706" y="863"/>
                </a:moveTo>
                <a:lnTo>
                  <a:pt x="911936" y="863"/>
                </a:lnTo>
                <a:lnTo>
                  <a:pt x="911936" y="69951"/>
                </a:lnTo>
                <a:lnTo>
                  <a:pt x="926706" y="69951"/>
                </a:lnTo>
                <a:lnTo>
                  <a:pt x="926706" y="863"/>
                </a:lnTo>
                <a:close/>
              </a:path>
              <a:path w="1256665" h="92075">
                <a:moveTo>
                  <a:pt x="870343" y="37401"/>
                </a:moveTo>
                <a:lnTo>
                  <a:pt x="861631" y="37401"/>
                </a:lnTo>
                <a:lnTo>
                  <a:pt x="850026" y="38252"/>
                </a:lnTo>
                <a:lnTo>
                  <a:pt x="840244" y="41117"/>
                </a:lnTo>
                <a:lnTo>
                  <a:pt x="833492" y="46461"/>
                </a:lnTo>
                <a:lnTo>
                  <a:pt x="830973" y="54749"/>
                </a:lnTo>
                <a:lnTo>
                  <a:pt x="832585" y="62103"/>
                </a:lnTo>
                <a:lnTo>
                  <a:pt x="837199" y="67087"/>
                </a:lnTo>
                <a:lnTo>
                  <a:pt x="844486" y="69919"/>
                </a:lnTo>
                <a:lnTo>
                  <a:pt x="854113" y="70815"/>
                </a:lnTo>
                <a:lnTo>
                  <a:pt x="862743" y="70313"/>
                </a:lnTo>
                <a:lnTo>
                  <a:pt x="870702" y="68880"/>
                </a:lnTo>
                <a:lnTo>
                  <a:pt x="878094" y="66620"/>
                </a:lnTo>
                <a:lnTo>
                  <a:pt x="885024" y="63639"/>
                </a:lnTo>
                <a:lnTo>
                  <a:pt x="899871" y="63639"/>
                </a:lnTo>
                <a:lnTo>
                  <a:pt x="899871" y="59931"/>
                </a:lnTo>
                <a:lnTo>
                  <a:pt x="850658" y="59931"/>
                </a:lnTo>
                <a:lnTo>
                  <a:pt x="845731" y="59499"/>
                </a:lnTo>
                <a:lnTo>
                  <a:pt x="845731" y="48971"/>
                </a:lnTo>
                <a:lnTo>
                  <a:pt x="852385" y="47066"/>
                </a:lnTo>
                <a:lnTo>
                  <a:pt x="899871" y="47066"/>
                </a:lnTo>
                <a:lnTo>
                  <a:pt x="899871" y="44297"/>
                </a:lnTo>
                <a:lnTo>
                  <a:pt x="899248" y="41021"/>
                </a:lnTo>
                <a:lnTo>
                  <a:pt x="885024" y="41021"/>
                </a:lnTo>
                <a:lnTo>
                  <a:pt x="878382" y="38773"/>
                </a:lnTo>
                <a:lnTo>
                  <a:pt x="870343" y="37401"/>
                </a:lnTo>
                <a:close/>
              </a:path>
              <a:path w="1256665" h="92075">
                <a:moveTo>
                  <a:pt x="899871" y="63639"/>
                </a:moveTo>
                <a:lnTo>
                  <a:pt x="885024" y="63639"/>
                </a:lnTo>
                <a:lnTo>
                  <a:pt x="885024" y="69951"/>
                </a:lnTo>
                <a:lnTo>
                  <a:pt x="899871" y="69951"/>
                </a:lnTo>
                <a:lnTo>
                  <a:pt x="899871" y="63639"/>
                </a:lnTo>
                <a:close/>
              </a:path>
              <a:path w="1256665" h="92075">
                <a:moveTo>
                  <a:pt x="899871" y="47066"/>
                </a:moveTo>
                <a:lnTo>
                  <a:pt x="872858" y="47066"/>
                </a:lnTo>
                <a:lnTo>
                  <a:pt x="879843" y="48526"/>
                </a:lnTo>
                <a:lnTo>
                  <a:pt x="885024" y="50177"/>
                </a:lnTo>
                <a:lnTo>
                  <a:pt x="885024" y="54152"/>
                </a:lnTo>
                <a:lnTo>
                  <a:pt x="878782" y="56432"/>
                </a:lnTo>
                <a:lnTo>
                  <a:pt x="871850" y="58266"/>
                </a:lnTo>
                <a:lnTo>
                  <a:pt x="864834" y="59487"/>
                </a:lnTo>
                <a:lnTo>
                  <a:pt x="858342" y="59931"/>
                </a:lnTo>
                <a:lnTo>
                  <a:pt x="899871" y="59931"/>
                </a:lnTo>
                <a:lnTo>
                  <a:pt x="899871" y="47066"/>
                </a:lnTo>
                <a:close/>
              </a:path>
              <a:path w="1256665" h="92075">
                <a:moveTo>
                  <a:pt x="896313" y="30568"/>
                </a:moveTo>
                <a:lnTo>
                  <a:pt x="872591" y="30568"/>
                </a:lnTo>
                <a:lnTo>
                  <a:pt x="885024" y="31356"/>
                </a:lnTo>
                <a:lnTo>
                  <a:pt x="885024" y="41021"/>
                </a:lnTo>
                <a:lnTo>
                  <a:pt x="899248" y="41021"/>
                </a:lnTo>
                <a:lnTo>
                  <a:pt x="897554" y="32101"/>
                </a:lnTo>
                <a:lnTo>
                  <a:pt x="896313" y="30568"/>
                </a:lnTo>
                <a:close/>
              </a:path>
              <a:path w="1256665" h="92075">
                <a:moveTo>
                  <a:pt x="866381" y="18224"/>
                </a:moveTo>
                <a:lnTo>
                  <a:pt x="858482" y="18572"/>
                </a:lnTo>
                <a:lnTo>
                  <a:pt x="850692" y="19592"/>
                </a:lnTo>
                <a:lnTo>
                  <a:pt x="842951" y="21246"/>
                </a:lnTo>
                <a:lnTo>
                  <a:pt x="835202" y="23495"/>
                </a:lnTo>
                <a:lnTo>
                  <a:pt x="840473" y="34277"/>
                </a:lnTo>
                <a:lnTo>
                  <a:pt x="847882" y="32390"/>
                </a:lnTo>
                <a:lnTo>
                  <a:pt x="854502" y="31261"/>
                </a:lnTo>
                <a:lnTo>
                  <a:pt x="860409" y="30712"/>
                </a:lnTo>
                <a:lnTo>
                  <a:pt x="865682" y="30568"/>
                </a:lnTo>
                <a:lnTo>
                  <a:pt x="896313" y="30568"/>
                </a:lnTo>
                <a:lnTo>
                  <a:pt x="891027" y="24041"/>
                </a:lnTo>
                <a:lnTo>
                  <a:pt x="880549" y="19590"/>
                </a:lnTo>
                <a:lnTo>
                  <a:pt x="866381" y="18224"/>
                </a:lnTo>
                <a:close/>
              </a:path>
              <a:path w="1256665" h="92075">
                <a:moveTo>
                  <a:pt x="796963" y="31432"/>
                </a:moveTo>
                <a:lnTo>
                  <a:pt x="782116" y="31432"/>
                </a:lnTo>
                <a:lnTo>
                  <a:pt x="782116" y="54673"/>
                </a:lnTo>
                <a:lnTo>
                  <a:pt x="783645" y="61926"/>
                </a:lnTo>
                <a:lnTo>
                  <a:pt x="787992" y="66949"/>
                </a:lnTo>
                <a:lnTo>
                  <a:pt x="794798" y="69870"/>
                </a:lnTo>
                <a:lnTo>
                  <a:pt x="803706" y="70815"/>
                </a:lnTo>
                <a:lnTo>
                  <a:pt x="810526" y="70815"/>
                </a:lnTo>
                <a:lnTo>
                  <a:pt x="816140" y="70383"/>
                </a:lnTo>
                <a:lnTo>
                  <a:pt x="821054" y="69507"/>
                </a:lnTo>
                <a:lnTo>
                  <a:pt x="821054" y="58458"/>
                </a:lnTo>
                <a:lnTo>
                  <a:pt x="798868" y="58458"/>
                </a:lnTo>
                <a:lnTo>
                  <a:pt x="796963" y="55956"/>
                </a:lnTo>
                <a:lnTo>
                  <a:pt x="796963" y="31432"/>
                </a:lnTo>
                <a:close/>
              </a:path>
              <a:path w="1256665" h="92075">
                <a:moveTo>
                  <a:pt x="821054" y="57607"/>
                </a:moveTo>
                <a:lnTo>
                  <a:pt x="815098" y="58458"/>
                </a:lnTo>
                <a:lnTo>
                  <a:pt x="821054" y="58458"/>
                </a:lnTo>
                <a:lnTo>
                  <a:pt x="821054" y="57607"/>
                </a:lnTo>
                <a:close/>
              </a:path>
              <a:path w="1256665" h="92075">
                <a:moveTo>
                  <a:pt x="821054" y="19088"/>
                </a:moveTo>
                <a:lnTo>
                  <a:pt x="768730" y="19088"/>
                </a:lnTo>
                <a:lnTo>
                  <a:pt x="768730" y="31432"/>
                </a:lnTo>
                <a:lnTo>
                  <a:pt x="821054" y="31432"/>
                </a:lnTo>
                <a:lnTo>
                  <a:pt x="821054" y="19088"/>
                </a:lnTo>
                <a:close/>
              </a:path>
              <a:path w="1256665" h="92075">
                <a:moveTo>
                  <a:pt x="796963" y="4318"/>
                </a:moveTo>
                <a:lnTo>
                  <a:pt x="782116" y="8547"/>
                </a:lnTo>
                <a:lnTo>
                  <a:pt x="782116" y="19088"/>
                </a:lnTo>
                <a:lnTo>
                  <a:pt x="796963" y="19088"/>
                </a:lnTo>
                <a:lnTo>
                  <a:pt x="796963" y="4318"/>
                </a:lnTo>
                <a:close/>
              </a:path>
              <a:path w="1256665" h="92075">
                <a:moveTo>
                  <a:pt x="758456" y="19088"/>
                </a:moveTo>
                <a:lnTo>
                  <a:pt x="743699" y="19088"/>
                </a:lnTo>
                <a:lnTo>
                  <a:pt x="743699" y="69951"/>
                </a:lnTo>
                <a:lnTo>
                  <a:pt x="758456" y="69951"/>
                </a:lnTo>
                <a:lnTo>
                  <a:pt x="758456" y="19088"/>
                </a:lnTo>
                <a:close/>
              </a:path>
              <a:path w="1256665" h="92075">
                <a:moveTo>
                  <a:pt x="758456" y="863"/>
                </a:moveTo>
                <a:lnTo>
                  <a:pt x="743699" y="863"/>
                </a:lnTo>
                <a:lnTo>
                  <a:pt x="743699" y="13728"/>
                </a:lnTo>
                <a:lnTo>
                  <a:pt x="758456" y="13728"/>
                </a:lnTo>
                <a:lnTo>
                  <a:pt x="758456" y="863"/>
                </a:lnTo>
                <a:close/>
              </a:path>
              <a:path w="1256665" h="92075">
                <a:moveTo>
                  <a:pt x="666610" y="75565"/>
                </a:moveTo>
                <a:lnTo>
                  <a:pt x="666610" y="87477"/>
                </a:lnTo>
                <a:lnTo>
                  <a:pt x="671585" y="88657"/>
                </a:lnTo>
                <a:lnTo>
                  <a:pt x="678845" y="89989"/>
                </a:lnTo>
                <a:lnTo>
                  <a:pt x="687950" y="91078"/>
                </a:lnTo>
                <a:lnTo>
                  <a:pt x="698461" y="91528"/>
                </a:lnTo>
                <a:lnTo>
                  <a:pt x="711770" y="89802"/>
                </a:lnTo>
                <a:lnTo>
                  <a:pt x="722266" y="84448"/>
                </a:lnTo>
                <a:lnTo>
                  <a:pt x="726188" y="79184"/>
                </a:lnTo>
                <a:lnTo>
                  <a:pt x="695185" y="79184"/>
                </a:lnTo>
                <a:lnTo>
                  <a:pt x="686821" y="78776"/>
                </a:lnTo>
                <a:lnTo>
                  <a:pt x="678921" y="77793"/>
                </a:lnTo>
                <a:lnTo>
                  <a:pt x="672009" y="76602"/>
                </a:lnTo>
                <a:lnTo>
                  <a:pt x="666610" y="75565"/>
                </a:lnTo>
                <a:close/>
              </a:path>
              <a:path w="1256665" h="92075">
                <a:moveTo>
                  <a:pt x="731621" y="60274"/>
                </a:moveTo>
                <a:lnTo>
                  <a:pt x="716775" y="60274"/>
                </a:lnTo>
                <a:lnTo>
                  <a:pt x="715294" y="68731"/>
                </a:lnTo>
                <a:lnTo>
                  <a:pt x="711485" y="74620"/>
                </a:lnTo>
                <a:lnTo>
                  <a:pt x="704923" y="78063"/>
                </a:lnTo>
                <a:lnTo>
                  <a:pt x="695185" y="79184"/>
                </a:lnTo>
                <a:lnTo>
                  <a:pt x="726188" y="79184"/>
                </a:lnTo>
                <a:lnTo>
                  <a:pt x="729149" y="75209"/>
                </a:lnTo>
                <a:lnTo>
                  <a:pt x="731621" y="61823"/>
                </a:lnTo>
                <a:lnTo>
                  <a:pt x="731621" y="60274"/>
                </a:lnTo>
                <a:close/>
              </a:path>
              <a:path w="1256665" h="92075">
                <a:moveTo>
                  <a:pt x="691045" y="18224"/>
                </a:moveTo>
                <a:lnTo>
                  <a:pt x="679021" y="19691"/>
                </a:lnTo>
                <a:lnTo>
                  <a:pt x="669570" y="24268"/>
                </a:lnTo>
                <a:lnTo>
                  <a:pt x="663389" y="32213"/>
                </a:lnTo>
                <a:lnTo>
                  <a:pt x="661174" y="43789"/>
                </a:lnTo>
                <a:lnTo>
                  <a:pt x="663389" y="55352"/>
                </a:lnTo>
                <a:lnTo>
                  <a:pt x="669570" y="63295"/>
                </a:lnTo>
                <a:lnTo>
                  <a:pt x="679021" y="67872"/>
                </a:lnTo>
                <a:lnTo>
                  <a:pt x="691045" y="69342"/>
                </a:lnTo>
                <a:lnTo>
                  <a:pt x="699399" y="68727"/>
                </a:lnTo>
                <a:lnTo>
                  <a:pt x="706467" y="66946"/>
                </a:lnTo>
                <a:lnTo>
                  <a:pt x="712256" y="64096"/>
                </a:lnTo>
                <a:lnTo>
                  <a:pt x="716775" y="60274"/>
                </a:lnTo>
                <a:lnTo>
                  <a:pt x="731621" y="60274"/>
                </a:lnTo>
                <a:lnTo>
                  <a:pt x="731621" y="56997"/>
                </a:lnTo>
                <a:lnTo>
                  <a:pt x="682497" y="56997"/>
                </a:lnTo>
                <a:lnTo>
                  <a:pt x="675932" y="53111"/>
                </a:lnTo>
                <a:lnTo>
                  <a:pt x="675932" y="34467"/>
                </a:lnTo>
                <a:lnTo>
                  <a:pt x="682497" y="30568"/>
                </a:lnTo>
                <a:lnTo>
                  <a:pt x="731621" y="30568"/>
                </a:lnTo>
                <a:lnTo>
                  <a:pt x="731621" y="27292"/>
                </a:lnTo>
                <a:lnTo>
                  <a:pt x="716775" y="27292"/>
                </a:lnTo>
                <a:lnTo>
                  <a:pt x="712306" y="23475"/>
                </a:lnTo>
                <a:lnTo>
                  <a:pt x="706534" y="20624"/>
                </a:lnTo>
                <a:lnTo>
                  <a:pt x="699449" y="18841"/>
                </a:lnTo>
                <a:lnTo>
                  <a:pt x="691045" y="18224"/>
                </a:lnTo>
                <a:close/>
              </a:path>
              <a:path w="1256665" h="92075">
                <a:moveTo>
                  <a:pt x="731621" y="30568"/>
                </a:moveTo>
                <a:lnTo>
                  <a:pt x="710298" y="30568"/>
                </a:lnTo>
                <a:lnTo>
                  <a:pt x="716775" y="34467"/>
                </a:lnTo>
                <a:lnTo>
                  <a:pt x="716775" y="53111"/>
                </a:lnTo>
                <a:lnTo>
                  <a:pt x="710298" y="56997"/>
                </a:lnTo>
                <a:lnTo>
                  <a:pt x="731621" y="56997"/>
                </a:lnTo>
                <a:lnTo>
                  <a:pt x="731621" y="30568"/>
                </a:lnTo>
                <a:close/>
              </a:path>
              <a:path w="1256665" h="92075">
                <a:moveTo>
                  <a:pt x="731621" y="19088"/>
                </a:moveTo>
                <a:lnTo>
                  <a:pt x="716775" y="19088"/>
                </a:lnTo>
                <a:lnTo>
                  <a:pt x="716775" y="27292"/>
                </a:lnTo>
                <a:lnTo>
                  <a:pt x="731621" y="27292"/>
                </a:lnTo>
                <a:lnTo>
                  <a:pt x="731621" y="19088"/>
                </a:lnTo>
                <a:close/>
              </a:path>
              <a:path w="1256665" h="92075">
                <a:moveTo>
                  <a:pt x="650379" y="19088"/>
                </a:moveTo>
                <a:lnTo>
                  <a:pt x="635609" y="19088"/>
                </a:lnTo>
                <a:lnTo>
                  <a:pt x="635609" y="69951"/>
                </a:lnTo>
                <a:lnTo>
                  <a:pt x="650379" y="69951"/>
                </a:lnTo>
                <a:lnTo>
                  <a:pt x="650379" y="19088"/>
                </a:lnTo>
                <a:close/>
              </a:path>
              <a:path w="1256665" h="92075">
                <a:moveTo>
                  <a:pt x="650379" y="863"/>
                </a:moveTo>
                <a:lnTo>
                  <a:pt x="635609" y="863"/>
                </a:lnTo>
                <a:lnTo>
                  <a:pt x="635609" y="13728"/>
                </a:lnTo>
                <a:lnTo>
                  <a:pt x="650379" y="13728"/>
                </a:lnTo>
                <a:lnTo>
                  <a:pt x="650379" y="863"/>
                </a:lnTo>
                <a:close/>
              </a:path>
              <a:path w="1256665" h="92075">
                <a:moveTo>
                  <a:pt x="583387" y="18224"/>
                </a:moveTo>
                <a:lnTo>
                  <a:pt x="571773" y="19607"/>
                </a:lnTo>
                <a:lnTo>
                  <a:pt x="562121" y="24107"/>
                </a:lnTo>
                <a:lnTo>
                  <a:pt x="555526" y="32251"/>
                </a:lnTo>
                <a:lnTo>
                  <a:pt x="553084" y="44564"/>
                </a:lnTo>
                <a:lnTo>
                  <a:pt x="555526" y="56863"/>
                </a:lnTo>
                <a:lnTo>
                  <a:pt x="562121" y="64976"/>
                </a:lnTo>
                <a:lnTo>
                  <a:pt x="571773" y="69445"/>
                </a:lnTo>
                <a:lnTo>
                  <a:pt x="583387" y="70815"/>
                </a:lnTo>
                <a:lnTo>
                  <a:pt x="591206" y="70252"/>
                </a:lnTo>
                <a:lnTo>
                  <a:pt x="598125" y="68580"/>
                </a:lnTo>
                <a:lnTo>
                  <a:pt x="604025" y="65821"/>
                </a:lnTo>
                <a:lnTo>
                  <a:pt x="608787" y="62001"/>
                </a:lnTo>
                <a:lnTo>
                  <a:pt x="623544" y="62001"/>
                </a:lnTo>
                <a:lnTo>
                  <a:pt x="623544" y="58458"/>
                </a:lnTo>
                <a:lnTo>
                  <a:pt x="575106" y="58458"/>
                </a:lnTo>
                <a:lnTo>
                  <a:pt x="567943" y="54571"/>
                </a:lnTo>
                <a:lnTo>
                  <a:pt x="567943" y="34467"/>
                </a:lnTo>
                <a:lnTo>
                  <a:pt x="575106" y="30568"/>
                </a:lnTo>
                <a:lnTo>
                  <a:pt x="623544" y="30568"/>
                </a:lnTo>
                <a:lnTo>
                  <a:pt x="623544" y="27025"/>
                </a:lnTo>
                <a:lnTo>
                  <a:pt x="608787" y="27025"/>
                </a:lnTo>
                <a:lnTo>
                  <a:pt x="604025" y="23212"/>
                </a:lnTo>
                <a:lnTo>
                  <a:pt x="598125" y="20458"/>
                </a:lnTo>
                <a:lnTo>
                  <a:pt x="591206" y="18787"/>
                </a:lnTo>
                <a:lnTo>
                  <a:pt x="583387" y="18224"/>
                </a:lnTo>
                <a:close/>
              </a:path>
              <a:path w="1256665" h="92075">
                <a:moveTo>
                  <a:pt x="623544" y="62001"/>
                </a:moveTo>
                <a:lnTo>
                  <a:pt x="608787" y="62001"/>
                </a:lnTo>
                <a:lnTo>
                  <a:pt x="608787" y="69951"/>
                </a:lnTo>
                <a:lnTo>
                  <a:pt x="623544" y="69951"/>
                </a:lnTo>
                <a:lnTo>
                  <a:pt x="623544" y="62001"/>
                </a:lnTo>
                <a:close/>
              </a:path>
              <a:path w="1256665" h="92075">
                <a:moveTo>
                  <a:pt x="623544" y="30568"/>
                </a:moveTo>
                <a:lnTo>
                  <a:pt x="601522" y="30568"/>
                </a:lnTo>
                <a:lnTo>
                  <a:pt x="608787" y="34467"/>
                </a:lnTo>
                <a:lnTo>
                  <a:pt x="608787" y="54571"/>
                </a:lnTo>
                <a:lnTo>
                  <a:pt x="601522" y="58458"/>
                </a:lnTo>
                <a:lnTo>
                  <a:pt x="623544" y="58458"/>
                </a:lnTo>
                <a:lnTo>
                  <a:pt x="623544" y="30568"/>
                </a:lnTo>
                <a:close/>
              </a:path>
              <a:path w="1256665" h="92075">
                <a:moveTo>
                  <a:pt x="623544" y="863"/>
                </a:moveTo>
                <a:lnTo>
                  <a:pt x="608787" y="863"/>
                </a:lnTo>
                <a:lnTo>
                  <a:pt x="608787" y="27025"/>
                </a:lnTo>
                <a:lnTo>
                  <a:pt x="623544" y="27025"/>
                </a:lnTo>
                <a:lnTo>
                  <a:pt x="623544" y="863"/>
                </a:lnTo>
                <a:close/>
              </a:path>
              <a:path w="1256665" h="92075">
                <a:moveTo>
                  <a:pt x="462800" y="18224"/>
                </a:moveTo>
                <a:lnTo>
                  <a:pt x="448589" y="19704"/>
                </a:lnTo>
                <a:lnTo>
                  <a:pt x="437446" y="24364"/>
                </a:lnTo>
                <a:lnTo>
                  <a:pt x="430173" y="32540"/>
                </a:lnTo>
                <a:lnTo>
                  <a:pt x="427570" y="44564"/>
                </a:lnTo>
                <a:lnTo>
                  <a:pt x="430220" y="56531"/>
                </a:lnTo>
                <a:lnTo>
                  <a:pt x="437500" y="64681"/>
                </a:lnTo>
                <a:lnTo>
                  <a:pt x="448407" y="69335"/>
                </a:lnTo>
                <a:lnTo>
                  <a:pt x="461937" y="70815"/>
                </a:lnTo>
                <a:lnTo>
                  <a:pt x="474841" y="69652"/>
                </a:lnTo>
                <a:lnTo>
                  <a:pt x="485132" y="66124"/>
                </a:lnTo>
                <a:lnTo>
                  <a:pt x="492524" y="60169"/>
                </a:lnTo>
                <a:lnTo>
                  <a:pt x="493200" y="58813"/>
                </a:lnTo>
                <a:lnTo>
                  <a:pt x="452094" y="58813"/>
                </a:lnTo>
                <a:lnTo>
                  <a:pt x="444322" y="56134"/>
                </a:lnTo>
                <a:lnTo>
                  <a:pt x="442683" y="48006"/>
                </a:lnTo>
                <a:lnTo>
                  <a:pt x="497585" y="48006"/>
                </a:lnTo>
                <a:lnTo>
                  <a:pt x="495815" y="38608"/>
                </a:lnTo>
                <a:lnTo>
                  <a:pt x="443191" y="38608"/>
                </a:lnTo>
                <a:lnTo>
                  <a:pt x="445528" y="31432"/>
                </a:lnTo>
                <a:lnTo>
                  <a:pt x="452615" y="29451"/>
                </a:lnTo>
                <a:lnTo>
                  <a:pt x="491513" y="29451"/>
                </a:lnTo>
                <a:lnTo>
                  <a:pt x="487446" y="24437"/>
                </a:lnTo>
                <a:lnTo>
                  <a:pt x="476395" y="19623"/>
                </a:lnTo>
                <a:lnTo>
                  <a:pt x="462800" y="18224"/>
                </a:lnTo>
                <a:close/>
              </a:path>
              <a:path w="1256665" h="92075">
                <a:moveTo>
                  <a:pt x="496735" y="51727"/>
                </a:moveTo>
                <a:lnTo>
                  <a:pt x="482053" y="51727"/>
                </a:lnTo>
                <a:lnTo>
                  <a:pt x="478345" y="56908"/>
                </a:lnTo>
                <a:lnTo>
                  <a:pt x="472122" y="58813"/>
                </a:lnTo>
                <a:lnTo>
                  <a:pt x="493200" y="58813"/>
                </a:lnTo>
                <a:lnTo>
                  <a:pt x="496735" y="51727"/>
                </a:lnTo>
                <a:close/>
              </a:path>
              <a:path w="1256665" h="92075">
                <a:moveTo>
                  <a:pt x="491513" y="29451"/>
                </a:moveTo>
                <a:lnTo>
                  <a:pt x="472046" y="29451"/>
                </a:lnTo>
                <a:lnTo>
                  <a:pt x="479297" y="31432"/>
                </a:lnTo>
                <a:lnTo>
                  <a:pt x="481787" y="38608"/>
                </a:lnTo>
                <a:lnTo>
                  <a:pt x="495815" y="38608"/>
                </a:lnTo>
                <a:lnTo>
                  <a:pt x="494870" y="33590"/>
                </a:lnTo>
                <a:lnTo>
                  <a:pt x="491513" y="29451"/>
                </a:lnTo>
                <a:close/>
              </a:path>
              <a:path w="1256665" h="92075">
                <a:moveTo>
                  <a:pt x="368858" y="19088"/>
                </a:moveTo>
                <a:lnTo>
                  <a:pt x="352463" y="19088"/>
                </a:lnTo>
                <a:lnTo>
                  <a:pt x="378193" y="69951"/>
                </a:lnTo>
                <a:lnTo>
                  <a:pt x="399262" y="69951"/>
                </a:lnTo>
                <a:lnTo>
                  <a:pt x="404565" y="59499"/>
                </a:lnTo>
                <a:lnTo>
                  <a:pt x="388810" y="59499"/>
                </a:lnTo>
                <a:lnTo>
                  <a:pt x="368858" y="19088"/>
                </a:lnTo>
                <a:close/>
              </a:path>
              <a:path w="1256665" h="92075">
                <a:moveTo>
                  <a:pt x="425068" y="19088"/>
                </a:moveTo>
                <a:lnTo>
                  <a:pt x="408673" y="19088"/>
                </a:lnTo>
                <a:lnTo>
                  <a:pt x="388810" y="59499"/>
                </a:lnTo>
                <a:lnTo>
                  <a:pt x="404565" y="59499"/>
                </a:lnTo>
                <a:lnTo>
                  <a:pt x="425068" y="19088"/>
                </a:lnTo>
                <a:close/>
              </a:path>
              <a:path w="1256665" h="92075">
                <a:moveTo>
                  <a:pt x="343052" y="19088"/>
                </a:moveTo>
                <a:lnTo>
                  <a:pt x="328282" y="19088"/>
                </a:lnTo>
                <a:lnTo>
                  <a:pt x="328282" y="69951"/>
                </a:lnTo>
                <a:lnTo>
                  <a:pt x="343052" y="69951"/>
                </a:lnTo>
                <a:lnTo>
                  <a:pt x="343052" y="19088"/>
                </a:lnTo>
                <a:close/>
              </a:path>
              <a:path w="1256665" h="92075">
                <a:moveTo>
                  <a:pt x="343052" y="863"/>
                </a:moveTo>
                <a:lnTo>
                  <a:pt x="328282" y="863"/>
                </a:lnTo>
                <a:lnTo>
                  <a:pt x="328282" y="13728"/>
                </a:lnTo>
                <a:lnTo>
                  <a:pt x="343052" y="13728"/>
                </a:lnTo>
                <a:lnTo>
                  <a:pt x="343052" y="863"/>
                </a:lnTo>
                <a:close/>
              </a:path>
              <a:path w="1256665" h="92075">
                <a:moveTo>
                  <a:pt x="293001" y="31432"/>
                </a:moveTo>
                <a:lnTo>
                  <a:pt x="278142" y="31432"/>
                </a:lnTo>
                <a:lnTo>
                  <a:pt x="278142" y="54673"/>
                </a:lnTo>
                <a:lnTo>
                  <a:pt x="279669" y="61926"/>
                </a:lnTo>
                <a:lnTo>
                  <a:pt x="284013" y="66949"/>
                </a:lnTo>
                <a:lnTo>
                  <a:pt x="290819" y="69870"/>
                </a:lnTo>
                <a:lnTo>
                  <a:pt x="299732" y="70815"/>
                </a:lnTo>
                <a:lnTo>
                  <a:pt x="306552" y="70815"/>
                </a:lnTo>
                <a:lnTo>
                  <a:pt x="312165" y="70383"/>
                </a:lnTo>
                <a:lnTo>
                  <a:pt x="317093" y="69507"/>
                </a:lnTo>
                <a:lnTo>
                  <a:pt x="317093" y="58458"/>
                </a:lnTo>
                <a:lnTo>
                  <a:pt x="294906" y="58458"/>
                </a:lnTo>
                <a:lnTo>
                  <a:pt x="293001" y="55956"/>
                </a:lnTo>
                <a:lnTo>
                  <a:pt x="293001" y="31432"/>
                </a:lnTo>
                <a:close/>
              </a:path>
              <a:path w="1256665" h="92075">
                <a:moveTo>
                  <a:pt x="317093" y="57607"/>
                </a:moveTo>
                <a:lnTo>
                  <a:pt x="311124" y="58458"/>
                </a:lnTo>
                <a:lnTo>
                  <a:pt x="317093" y="58458"/>
                </a:lnTo>
                <a:lnTo>
                  <a:pt x="317093" y="57607"/>
                </a:lnTo>
                <a:close/>
              </a:path>
              <a:path w="1256665" h="92075">
                <a:moveTo>
                  <a:pt x="317093" y="19088"/>
                </a:moveTo>
                <a:lnTo>
                  <a:pt x="264756" y="19088"/>
                </a:lnTo>
                <a:lnTo>
                  <a:pt x="264756" y="31432"/>
                </a:lnTo>
                <a:lnTo>
                  <a:pt x="317093" y="31432"/>
                </a:lnTo>
                <a:lnTo>
                  <a:pt x="317093" y="19088"/>
                </a:lnTo>
                <a:close/>
              </a:path>
              <a:path w="1256665" h="92075">
                <a:moveTo>
                  <a:pt x="293001" y="4318"/>
                </a:moveTo>
                <a:lnTo>
                  <a:pt x="278142" y="8547"/>
                </a:lnTo>
                <a:lnTo>
                  <a:pt x="278142" y="19088"/>
                </a:lnTo>
                <a:lnTo>
                  <a:pt x="293001" y="19088"/>
                </a:lnTo>
                <a:lnTo>
                  <a:pt x="293001" y="4318"/>
                </a:lnTo>
                <a:close/>
              </a:path>
              <a:path w="1256665" h="92075">
                <a:moveTo>
                  <a:pt x="254495" y="19088"/>
                </a:moveTo>
                <a:lnTo>
                  <a:pt x="239725" y="19088"/>
                </a:lnTo>
                <a:lnTo>
                  <a:pt x="239725" y="69951"/>
                </a:lnTo>
                <a:lnTo>
                  <a:pt x="254495" y="69951"/>
                </a:lnTo>
                <a:lnTo>
                  <a:pt x="254495" y="19088"/>
                </a:lnTo>
                <a:close/>
              </a:path>
              <a:path w="1256665" h="92075">
                <a:moveTo>
                  <a:pt x="254495" y="863"/>
                </a:moveTo>
                <a:lnTo>
                  <a:pt x="239725" y="863"/>
                </a:lnTo>
                <a:lnTo>
                  <a:pt x="239725" y="13728"/>
                </a:lnTo>
                <a:lnTo>
                  <a:pt x="254495" y="13728"/>
                </a:lnTo>
                <a:lnTo>
                  <a:pt x="254495" y="863"/>
                </a:lnTo>
                <a:close/>
              </a:path>
              <a:path w="1256665" h="92075">
                <a:moveTo>
                  <a:pt x="173431" y="52070"/>
                </a:moveTo>
                <a:lnTo>
                  <a:pt x="158661" y="52070"/>
                </a:lnTo>
                <a:lnTo>
                  <a:pt x="161801" y="61846"/>
                </a:lnTo>
                <a:lnTo>
                  <a:pt x="170179" y="67529"/>
                </a:lnTo>
                <a:lnTo>
                  <a:pt x="182235" y="70168"/>
                </a:lnTo>
                <a:lnTo>
                  <a:pt x="196405" y="70815"/>
                </a:lnTo>
                <a:lnTo>
                  <a:pt x="209756" y="70198"/>
                </a:lnTo>
                <a:lnTo>
                  <a:pt x="220022" y="67767"/>
                </a:lnTo>
                <a:lnTo>
                  <a:pt x="226614" y="62649"/>
                </a:lnTo>
                <a:lnTo>
                  <a:pt x="227436" y="59588"/>
                </a:lnTo>
                <a:lnTo>
                  <a:pt x="179044" y="59588"/>
                </a:lnTo>
                <a:lnTo>
                  <a:pt x="173431" y="57518"/>
                </a:lnTo>
                <a:lnTo>
                  <a:pt x="173431" y="52070"/>
                </a:lnTo>
                <a:close/>
              </a:path>
              <a:path w="1256665" h="92075">
                <a:moveTo>
                  <a:pt x="194144" y="18224"/>
                </a:moveTo>
                <a:lnTo>
                  <a:pt x="181188" y="18835"/>
                </a:lnTo>
                <a:lnTo>
                  <a:pt x="170514" y="21142"/>
                </a:lnTo>
                <a:lnTo>
                  <a:pt x="163189" y="25950"/>
                </a:lnTo>
                <a:lnTo>
                  <a:pt x="160477" y="34023"/>
                </a:lnTo>
                <a:lnTo>
                  <a:pt x="162540" y="41404"/>
                </a:lnTo>
                <a:lnTo>
                  <a:pt x="168757" y="45778"/>
                </a:lnTo>
                <a:lnTo>
                  <a:pt x="179165" y="48098"/>
                </a:lnTo>
                <a:lnTo>
                  <a:pt x="193801" y="49314"/>
                </a:lnTo>
                <a:lnTo>
                  <a:pt x="211683" y="50431"/>
                </a:lnTo>
                <a:lnTo>
                  <a:pt x="214109" y="50685"/>
                </a:lnTo>
                <a:lnTo>
                  <a:pt x="214109" y="58547"/>
                </a:lnTo>
                <a:lnTo>
                  <a:pt x="211505" y="59588"/>
                </a:lnTo>
                <a:lnTo>
                  <a:pt x="227436" y="59588"/>
                </a:lnTo>
                <a:lnTo>
                  <a:pt x="195529" y="38430"/>
                </a:lnTo>
                <a:lnTo>
                  <a:pt x="178003" y="37134"/>
                </a:lnTo>
                <a:lnTo>
                  <a:pt x="175323" y="36614"/>
                </a:lnTo>
                <a:lnTo>
                  <a:pt x="175323" y="30492"/>
                </a:lnTo>
                <a:lnTo>
                  <a:pt x="179298" y="29451"/>
                </a:lnTo>
                <a:lnTo>
                  <a:pt x="225691" y="29451"/>
                </a:lnTo>
                <a:lnTo>
                  <a:pt x="224755" y="26245"/>
                </a:lnTo>
                <a:lnTo>
                  <a:pt x="217878" y="21229"/>
                </a:lnTo>
                <a:lnTo>
                  <a:pt x="207404" y="18835"/>
                </a:lnTo>
                <a:lnTo>
                  <a:pt x="194144" y="18224"/>
                </a:lnTo>
                <a:close/>
              </a:path>
              <a:path w="1256665" h="92075">
                <a:moveTo>
                  <a:pt x="225691" y="29451"/>
                </a:moveTo>
                <a:lnTo>
                  <a:pt x="207022" y="29451"/>
                </a:lnTo>
                <a:lnTo>
                  <a:pt x="212382" y="30492"/>
                </a:lnTo>
                <a:lnTo>
                  <a:pt x="212382" y="34721"/>
                </a:lnTo>
                <a:lnTo>
                  <a:pt x="227228" y="34721"/>
                </a:lnTo>
                <a:lnTo>
                  <a:pt x="225691" y="29451"/>
                </a:lnTo>
                <a:close/>
              </a:path>
              <a:path w="1256665" h="92075">
                <a:moveTo>
                  <a:pt x="114909" y="18224"/>
                </a:moveTo>
                <a:lnTo>
                  <a:pt x="100516" y="19704"/>
                </a:lnTo>
                <a:lnTo>
                  <a:pt x="89393" y="24364"/>
                </a:lnTo>
                <a:lnTo>
                  <a:pt x="82221" y="32540"/>
                </a:lnTo>
                <a:lnTo>
                  <a:pt x="79679" y="44564"/>
                </a:lnTo>
                <a:lnTo>
                  <a:pt x="82221" y="56531"/>
                </a:lnTo>
                <a:lnTo>
                  <a:pt x="89393" y="64681"/>
                </a:lnTo>
                <a:lnTo>
                  <a:pt x="100516" y="69335"/>
                </a:lnTo>
                <a:lnTo>
                  <a:pt x="114909" y="70815"/>
                </a:lnTo>
                <a:lnTo>
                  <a:pt x="129265" y="69335"/>
                </a:lnTo>
                <a:lnTo>
                  <a:pt x="140392" y="64681"/>
                </a:lnTo>
                <a:lnTo>
                  <a:pt x="145884" y="58458"/>
                </a:lnTo>
                <a:lnTo>
                  <a:pt x="101180" y="58458"/>
                </a:lnTo>
                <a:lnTo>
                  <a:pt x="94437" y="55092"/>
                </a:lnTo>
                <a:lnTo>
                  <a:pt x="94437" y="33934"/>
                </a:lnTo>
                <a:lnTo>
                  <a:pt x="101180" y="30568"/>
                </a:lnTo>
                <a:lnTo>
                  <a:pt x="145850" y="30568"/>
                </a:lnTo>
                <a:lnTo>
                  <a:pt x="140392" y="24364"/>
                </a:lnTo>
                <a:lnTo>
                  <a:pt x="129265" y="19704"/>
                </a:lnTo>
                <a:lnTo>
                  <a:pt x="114909" y="18224"/>
                </a:lnTo>
                <a:close/>
              </a:path>
              <a:path w="1256665" h="92075">
                <a:moveTo>
                  <a:pt x="145850" y="30568"/>
                </a:moveTo>
                <a:lnTo>
                  <a:pt x="128536" y="30568"/>
                </a:lnTo>
                <a:lnTo>
                  <a:pt x="135280" y="33934"/>
                </a:lnTo>
                <a:lnTo>
                  <a:pt x="135280" y="55092"/>
                </a:lnTo>
                <a:lnTo>
                  <a:pt x="128536" y="58458"/>
                </a:lnTo>
                <a:lnTo>
                  <a:pt x="145884" y="58458"/>
                </a:lnTo>
                <a:lnTo>
                  <a:pt x="147585" y="56531"/>
                </a:lnTo>
                <a:lnTo>
                  <a:pt x="150139" y="44564"/>
                </a:lnTo>
                <a:lnTo>
                  <a:pt x="147585" y="32540"/>
                </a:lnTo>
                <a:lnTo>
                  <a:pt x="145850" y="30568"/>
                </a:lnTo>
                <a:close/>
              </a:path>
              <a:path w="1256665" h="92075">
                <a:moveTo>
                  <a:pt x="47497" y="9512"/>
                </a:moveTo>
                <a:lnTo>
                  <a:pt x="0" y="9512"/>
                </a:lnTo>
                <a:lnTo>
                  <a:pt x="0" y="69951"/>
                </a:lnTo>
                <a:lnTo>
                  <a:pt x="15544" y="69951"/>
                </a:lnTo>
                <a:lnTo>
                  <a:pt x="15544" y="53809"/>
                </a:lnTo>
                <a:lnTo>
                  <a:pt x="47497" y="53809"/>
                </a:lnTo>
                <a:lnTo>
                  <a:pt x="56905" y="52248"/>
                </a:lnTo>
                <a:lnTo>
                  <a:pt x="64215" y="47802"/>
                </a:lnTo>
                <a:lnTo>
                  <a:pt x="68952" y="40833"/>
                </a:lnTo>
                <a:lnTo>
                  <a:pt x="15544" y="40754"/>
                </a:lnTo>
                <a:lnTo>
                  <a:pt x="15544" y="22542"/>
                </a:lnTo>
                <a:lnTo>
                  <a:pt x="68948" y="22542"/>
                </a:lnTo>
                <a:lnTo>
                  <a:pt x="64215" y="15552"/>
                </a:lnTo>
                <a:lnTo>
                  <a:pt x="56905" y="11084"/>
                </a:lnTo>
                <a:lnTo>
                  <a:pt x="47497" y="9512"/>
                </a:lnTo>
                <a:close/>
              </a:path>
              <a:path w="1256665" h="92075">
                <a:moveTo>
                  <a:pt x="68948" y="22542"/>
                </a:moveTo>
                <a:lnTo>
                  <a:pt x="55092" y="22542"/>
                </a:lnTo>
                <a:lnTo>
                  <a:pt x="55092" y="40754"/>
                </a:lnTo>
                <a:lnTo>
                  <a:pt x="68967" y="40754"/>
                </a:lnTo>
                <a:lnTo>
                  <a:pt x="70637" y="31699"/>
                </a:lnTo>
                <a:lnTo>
                  <a:pt x="68948" y="22542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51A90F7-4173-4539-90AE-F4A8B177F34B}"/>
              </a:ext>
            </a:extLst>
          </p:cNvPr>
          <p:cNvSpPr/>
          <p:nvPr userDrawn="1"/>
        </p:nvSpPr>
        <p:spPr>
          <a:xfrm>
            <a:off x="7119938" y="2743200"/>
            <a:ext cx="2228850" cy="3429000"/>
          </a:xfrm>
          <a:custGeom>
            <a:avLst/>
            <a:gdLst/>
            <a:ahLst/>
            <a:cxnLst/>
            <a:rect l="l" t="t" r="r" b="b"/>
            <a:pathLst>
              <a:path w="3657600" h="4572000">
                <a:moveTo>
                  <a:pt x="3657600" y="0"/>
                </a:moveTo>
                <a:lnTo>
                  <a:pt x="0" y="0"/>
                </a:lnTo>
                <a:lnTo>
                  <a:pt x="0" y="4572000"/>
                </a:lnTo>
                <a:lnTo>
                  <a:pt x="3657600" y="4572000"/>
                </a:lnTo>
                <a:lnTo>
                  <a:pt x="36576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2" name="object 13">
            <a:extLst>
              <a:ext uri="{FF2B5EF4-FFF2-40B4-BE49-F238E27FC236}">
                <a16:creationId xmlns:a16="http://schemas.microsoft.com/office/drawing/2014/main" id="{AEDC5B23-1647-49B1-8689-60FD3A78D068}"/>
              </a:ext>
            </a:extLst>
          </p:cNvPr>
          <p:cNvSpPr/>
          <p:nvPr/>
        </p:nvSpPr>
        <p:spPr>
          <a:xfrm>
            <a:off x="0" y="0"/>
            <a:ext cx="3219450" cy="6858000"/>
          </a:xfrm>
          <a:custGeom>
            <a:avLst/>
            <a:gdLst/>
            <a:ahLst/>
            <a:cxnLst/>
            <a:rect l="l" t="t" r="r" b="b"/>
            <a:pathLst>
              <a:path w="5283200" h="9144000">
                <a:moveTo>
                  <a:pt x="5283200" y="0"/>
                </a:moveTo>
                <a:lnTo>
                  <a:pt x="0" y="0"/>
                </a:lnTo>
                <a:lnTo>
                  <a:pt x="0" y="9144000"/>
                </a:lnTo>
                <a:lnTo>
                  <a:pt x="5283200" y="9144000"/>
                </a:lnTo>
                <a:lnTo>
                  <a:pt x="528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B878D6D7-A21E-4916-A1DB-9ADACBC53B10}"/>
              </a:ext>
            </a:extLst>
          </p:cNvPr>
          <p:cNvSpPr/>
          <p:nvPr userDrawn="1"/>
        </p:nvSpPr>
        <p:spPr>
          <a:xfrm>
            <a:off x="6562725" y="1371599"/>
            <a:ext cx="1671638" cy="4800600"/>
          </a:xfrm>
          <a:custGeom>
            <a:avLst/>
            <a:gdLst/>
            <a:ahLst/>
            <a:cxnLst/>
            <a:rect l="l" t="t" r="r" b="b"/>
            <a:pathLst>
              <a:path w="2743200" h="6400800">
                <a:moveTo>
                  <a:pt x="914400" y="5486400"/>
                </a:moveTo>
                <a:lnTo>
                  <a:pt x="0" y="5486400"/>
                </a:lnTo>
                <a:lnTo>
                  <a:pt x="0" y="6400800"/>
                </a:lnTo>
                <a:lnTo>
                  <a:pt x="914400" y="6400800"/>
                </a:lnTo>
                <a:lnTo>
                  <a:pt x="914400" y="5486400"/>
                </a:lnTo>
                <a:close/>
              </a:path>
              <a:path w="2743200" h="6400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2743200" h="6400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CF9F1995-3828-492B-8E00-DABB95B1CE1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2" y="5486400"/>
            <a:ext cx="1547813" cy="685799"/>
          </a:xfrm>
          <a:noFill/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E3D4C3-7FF7-4C2C-AC1C-58D153EBB7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9473" y="1029173"/>
            <a:ext cx="2102316" cy="2114550"/>
          </a:xfrm>
        </p:spPr>
        <p:txBody>
          <a:bodyPr/>
          <a:lstStyle/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4CC0C3C-8E8C-4602-B27C-EAA9C3EB84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5736" y="1029173"/>
            <a:ext cx="2505908" cy="211455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D69663-3C24-47D3-AADB-4E2655570CE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5259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7841DCF2-2B94-45F3-94F5-118FE191F0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7213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7" name="Text Placeholder 18">
            <a:extLst>
              <a:ext uri="{FF2B5EF4-FFF2-40B4-BE49-F238E27FC236}">
                <a16:creationId xmlns:a16="http://schemas.microsoft.com/office/drawing/2014/main" id="{9675BD83-58FE-4C71-B90D-479A1D8BFE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8680" y="33289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570C0C40-76FE-48E0-A40C-7FA39A6116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3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380F4B4-DFB8-45BA-BF39-FD12DC17938D}"/>
              </a:ext>
            </a:extLst>
          </p:cNvPr>
          <p:cNvSpPr/>
          <p:nvPr userDrawn="1"/>
        </p:nvSpPr>
        <p:spPr>
          <a:xfrm>
            <a:off x="0" y="5143500"/>
            <a:ext cx="9906000" cy="1714500"/>
          </a:xfrm>
          <a:custGeom>
            <a:avLst/>
            <a:gdLst>
              <a:gd name="connsiteX0" fmla="*/ 0 w 16256000"/>
              <a:gd name="connsiteY0" fmla="*/ 0 h 2286000"/>
              <a:gd name="connsiteX1" fmla="*/ 16256000 w 16256000"/>
              <a:gd name="connsiteY1" fmla="*/ 0 h 2286000"/>
              <a:gd name="connsiteX2" fmla="*/ 16256000 w 16256000"/>
              <a:gd name="connsiteY2" fmla="*/ 1371600 h 2286000"/>
              <a:gd name="connsiteX3" fmla="*/ 15341600 w 16256000"/>
              <a:gd name="connsiteY3" fmla="*/ 1371600 h 2286000"/>
              <a:gd name="connsiteX4" fmla="*/ 15341600 w 16256000"/>
              <a:gd name="connsiteY4" fmla="*/ 2286000 h 2286000"/>
              <a:gd name="connsiteX5" fmla="*/ 0 w 16256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56000" h="2286000">
                <a:moveTo>
                  <a:pt x="0" y="0"/>
                </a:moveTo>
                <a:lnTo>
                  <a:pt x="16256000" y="0"/>
                </a:lnTo>
                <a:lnTo>
                  <a:pt x="16256000" y="1371600"/>
                </a:lnTo>
                <a:lnTo>
                  <a:pt x="15341600" y="1371600"/>
                </a:lnTo>
                <a:lnTo>
                  <a:pt x="15341600" y="2286000"/>
                </a:lnTo>
                <a:lnTo>
                  <a:pt x="0" y="2286000"/>
                </a:lnTo>
                <a:close/>
              </a:path>
            </a:pathLst>
          </a:custGeom>
          <a:solidFill>
            <a:srgbClr val="222C4A"/>
          </a:solidFill>
        </p:spPr>
        <p:txBody>
          <a:bodyPr wrap="square" lIns="0" tIns="0" rIns="0" bIns="0" rtlCol="0">
            <a:noAutofit/>
          </a:bodyPr>
          <a:lstStyle/>
          <a:p>
            <a:endParaRPr sz="731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FA622AA-407E-4F46-953C-4F5CFFF27758}"/>
              </a:ext>
            </a:extLst>
          </p:cNvPr>
          <p:cNvGrpSpPr/>
          <p:nvPr userDrawn="1"/>
        </p:nvGrpSpPr>
        <p:grpSpPr>
          <a:xfrm>
            <a:off x="7820355" y="5902835"/>
            <a:ext cx="215146" cy="264795"/>
            <a:chOff x="12833403" y="7870446"/>
            <a:chExt cx="353060" cy="353060"/>
          </a:xfrm>
        </p:grpSpPr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FE6F9D51-5130-443F-B1D6-66A7423C656F}"/>
                </a:ext>
              </a:extLst>
            </p:cNvPr>
            <p:cNvSpPr/>
            <p:nvPr/>
          </p:nvSpPr>
          <p:spPr>
            <a:xfrm>
              <a:off x="12833403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9D8A372B-5C39-4A64-9C1B-63367CD65657}"/>
                </a:ext>
              </a:extLst>
            </p:cNvPr>
            <p:cNvSpPr/>
            <p:nvPr/>
          </p:nvSpPr>
          <p:spPr>
            <a:xfrm>
              <a:off x="12956971" y="7938711"/>
              <a:ext cx="105664" cy="21626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B1B7B49-0DA0-45B6-8E19-E1D65283D0ED}"/>
              </a:ext>
            </a:extLst>
          </p:cNvPr>
          <p:cNvGrpSpPr/>
          <p:nvPr userDrawn="1"/>
        </p:nvGrpSpPr>
        <p:grpSpPr>
          <a:xfrm>
            <a:off x="8147748" y="5902835"/>
            <a:ext cx="215146" cy="264795"/>
            <a:chOff x="13370664" y="7870446"/>
            <a:chExt cx="353060" cy="353060"/>
          </a:xfrm>
        </p:grpSpPr>
        <p:sp>
          <p:nvSpPr>
            <p:cNvPr id="18" name="object 16">
              <a:extLst>
                <a:ext uri="{FF2B5EF4-FFF2-40B4-BE49-F238E27FC236}">
                  <a16:creationId xmlns:a16="http://schemas.microsoft.com/office/drawing/2014/main" id="{656B5F96-588D-4950-953A-24C2FAA305BA}"/>
                </a:ext>
              </a:extLst>
            </p:cNvPr>
            <p:cNvSpPr/>
            <p:nvPr/>
          </p:nvSpPr>
          <p:spPr>
            <a:xfrm>
              <a:off x="13370664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11BF1B32-D111-4881-9DFF-43E6C6F520A6}"/>
                </a:ext>
              </a:extLst>
            </p:cNvPr>
            <p:cNvSpPr/>
            <p:nvPr/>
          </p:nvSpPr>
          <p:spPr>
            <a:xfrm>
              <a:off x="13442765" y="7962081"/>
              <a:ext cx="208597" cy="16953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C6C106-DE9F-424D-9B9A-C24F893C9D73}"/>
              </a:ext>
            </a:extLst>
          </p:cNvPr>
          <p:cNvGrpSpPr/>
          <p:nvPr userDrawn="1"/>
        </p:nvGrpSpPr>
        <p:grpSpPr>
          <a:xfrm>
            <a:off x="9129932" y="5902835"/>
            <a:ext cx="215146" cy="264795"/>
            <a:chOff x="14982452" y="7870446"/>
            <a:chExt cx="353060" cy="353060"/>
          </a:xfrm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48B0EE01-8313-438B-85E4-919E3227E5BE}"/>
                </a:ext>
              </a:extLst>
            </p:cNvPr>
            <p:cNvSpPr/>
            <p:nvPr/>
          </p:nvSpPr>
          <p:spPr>
            <a:xfrm>
              <a:off x="14982452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4656ECC0-6C42-4410-9C22-44D7020441F1}"/>
                </a:ext>
              </a:extLst>
            </p:cNvPr>
            <p:cNvSpPr/>
            <p:nvPr/>
          </p:nvSpPr>
          <p:spPr>
            <a:xfrm>
              <a:off x="15049749" y="7937746"/>
              <a:ext cx="218198" cy="21819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6C8FFF-8FEA-4190-BEF9-18887051D0DD}"/>
              </a:ext>
            </a:extLst>
          </p:cNvPr>
          <p:cNvGrpSpPr/>
          <p:nvPr userDrawn="1"/>
        </p:nvGrpSpPr>
        <p:grpSpPr>
          <a:xfrm>
            <a:off x="8802538" y="5902835"/>
            <a:ext cx="215146" cy="264795"/>
            <a:chOff x="14445191" y="7870446"/>
            <a:chExt cx="353060" cy="353060"/>
          </a:xfrm>
        </p:grpSpPr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3414877-28FB-4DC1-8403-7063952D0A34}"/>
                </a:ext>
              </a:extLst>
            </p:cNvPr>
            <p:cNvSpPr/>
            <p:nvPr/>
          </p:nvSpPr>
          <p:spPr>
            <a:xfrm>
              <a:off x="14445191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152A3D67-68A0-4395-A725-E4D4B063083F}"/>
                </a:ext>
              </a:extLst>
            </p:cNvPr>
            <p:cNvSpPr/>
            <p:nvPr/>
          </p:nvSpPr>
          <p:spPr>
            <a:xfrm>
              <a:off x="14516264" y="7973118"/>
              <a:ext cx="210654" cy="14744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9B15965-B2D7-4F16-8E53-EFCD29DF2415}"/>
              </a:ext>
            </a:extLst>
          </p:cNvPr>
          <p:cNvGrpSpPr/>
          <p:nvPr userDrawn="1"/>
        </p:nvGrpSpPr>
        <p:grpSpPr>
          <a:xfrm>
            <a:off x="8475144" y="5902835"/>
            <a:ext cx="215146" cy="264795"/>
            <a:chOff x="13907928" y="7870446"/>
            <a:chExt cx="353060" cy="35306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55F9FD29-BE99-4B55-9E02-369EDD098BF6}"/>
                </a:ext>
              </a:extLst>
            </p:cNvPr>
            <p:cNvSpPr/>
            <p:nvPr/>
          </p:nvSpPr>
          <p:spPr>
            <a:xfrm>
              <a:off x="13907928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7E5DCE-E3CE-4A81-935E-3853938624C6}"/>
                </a:ext>
              </a:extLst>
            </p:cNvPr>
            <p:cNvSpPr/>
            <p:nvPr/>
          </p:nvSpPr>
          <p:spPr>
            <a:xfrm>
              <a:off x="13990901" y="7954696"/>
              <a:ext cx="186842" cy="18430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30" name="object 8">
            <a:extLst>
              <a:ext uri="{FF2B5EF4-FFF2-40B4-BE49-F238E27FC236}">
                <a16:creationId xmlns:a16="http://schemas.microsoft.com/office/drawing/2014/main" id="{30407C8C-1F92-4D15-91A5-2F39144E61A5}"/>
              </a:ext>
            </a:extLst>
          </p:cNvPr>
          <p:cNvSpPr txBox="1"/>
          <p:nvPr userDrawn="1"/>
        </p:nvSpPr>
        <p:spPr>
          <a:xfrm>
            <a:off x="7820355" y="5487350"/>
            <a:ext cx="1536557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grpSp>
        <p:nvGrpSpPr>
          <p:cNvPr id="38" name="Graphique 30">
            <a:extLst>
              <a:ext uri="{FF2B5EF4-FFF2-40B4-BE49-F238E27FC236}">
                <a16:creationId xmlns:a16="http://schemas.microsoft.com/office/drawing/2014/main" id="{EFD8DA84-E25B-4397-9A13-BE58B213B7E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213" y="5553303"/>
            <a:ext cx="2228850" cy="650468"/>
            <a:chOff x="6756400" y="5334000"/>
            <a:chExt cx="1824936" cy="432729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D7AB141-7BCF-40C0-B8C8-1BE3AA1B10F4}"/>
                </a:ext>
              </a:extLst>
            </p:cNvPr>
            <p:cNvSpPr/>
            <p:nvPr/>
          </p:nvSpPr>
          <p:spPr>
            <a:xfrm>
              <a:off x="7041667" y="567528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/>
            </a:p>
          </p:txBody>
        </p:sp>
        <p:grpSp>
          <p:nvGrpSpPr>
            <p:cNvPr id="40" name="Graphique 30">
              <a:extLst>
                <a:ext uri="{FF2B5EF4-FFF2-40B4-BE49-F238E27FC236}">
                  <a16:creationId xmlns:a16="http://schemas.microsoft.com/office/drawing/2014/main" id="{C1A2F515-8375-4C33-99AF-323CF12CD29D}"/>
                </a:ext>
              </a:extLst>
            </p:cNvPr>
            <p:cNvGrpSpPr/>
            <p:nvPr/>
          </p:nvGrpSpPr>
          <p:grpSpPr>
            <a:xfrm>
              <a:off x="6756400" y="5334000"/>
              <a:ext cx="1824936" cy="273031"/>
              <a:chOff x="6756400" y="5334000"/>
              <a:chExt cx="1824936" cy="273031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61F09EFB-CB0B-4FBD-B3D9-8948AB4B0676}"/>
                  </a:ext>
                </a:extLst>
              </p:cNvPr>
              <p:cNvSpPr/>
              <p:nvPr/>
            </p:nvSpPr>
            <p:spPr>
              <a:xfrm>
                <a:off x="6756400" y="533400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87CE0B4-A958-4D06-9420-19E32A7A994A}"/>
                  </a:ext>
                </a:extLst>
              </p:cNvPr>
              <p:cNvSpPr/>
              <p:nvPr/>
            </p:nvSpPr>
            <p:spPr>
              <a:xfrm>
                <a:off x="8363039" y="538422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</p:grpSp>
      </p:grp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F2F5812-A87B-4FF0-8AF0-430D0522C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8680" y="16144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565143D5-803B-4BBC-9EEC-05BD666ADE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606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15EB7A04-D68C-41D0-B905-5073B5F80E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3074" y="33289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E0B973B9-F199-4B5E-803F-4410743BD7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1606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A2767ABD-17B9-4375-BB06-FA22C3DCE9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3074" y="16144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</p:spTree>
    <p:extLst>
      <p:ext uri="{BB962C8B-B14F-4D97-AF65-F5344CB8AC3E}">
        <p14:creationId xmlns:p14="http://schemas.microsoft.com/office/powerpoint/2010/main" val="141158315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3" y="3713307"/>
            <a:ext cx="2228850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 userDrawn="1"/>
        </p:nvSpPr>
        <p:spPr>
          <a:xfrm>
            <a:off x="3645098" y="3895726"/>
            <a:ext cx="1245989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7D4A96E6-C3EB-45C1-B3BA-4E240EF4D554}"/>
              </a:ext>
            </a:extLst>
          </p:cNvPr>
          <p:cNvSpPr/>
          <p:nvPr userDrawn="1"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</p:spTree>
    <p:extLst>
      <p:ext uri="{BB962C8B-B14F-4D97-AF65-F5344CB8AC3E}">
        <p14:creationId xmlns:p14="http://schemas.microsoft.com/office/powerpoint/2010/main" val="40946951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End 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7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FBBE171D-EA4E-452C-8EBE-60BD260840FF}"/>
              </a:ext>
            </a:extLst>
          </p:cNvPr>
          <p:cNvSpPr/>
          <p:nvPr userDrawn="1"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609C26D4-87EE-42AD-8338-D5EE327E9EA9}"/>
              </a:ext>
            </a:extLst>
          </p:cNvPr>
          <p:cNvSpPr txBox="1"/>
          <p:nvPr userDrawn="1"/>
        </p:nvSpPr>
        <p:spPr>
          <a:xfrm>
            <a:off x="3645098" y="3895726"/>
            <a:ext cx="1245989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373488050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End F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7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FBBE171D-EA4E-452C-8EBE-60BD260840FF}"/>
              </a:ext>
            </a:extLst>
          </p:cNvPr>
          <p:cNvSpPr/>
          <p:nvPr userDrawn="1"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609C26D4-87EE-42AD-8338-D5EE327E9EA9}"/>
              </a:ext>
            </a:extLst>
          </p:cNvPr>
          <p:cNvSpPr txBox="1"/>
          <p:nvPr userDrawn="1"/>
        </p:nvSpPr>
        <p:spPr>
          <a:xfrm>
            <a:off x="3645098" y="3895726"/>
            <a:ext cx="1245989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19" name="object 29">
            <a:extLst>
              <a:ext uri="{FF2B5EF4-FFF2-40B4-BE49-F238E27FC236}">
                <a16:creationId xmlns:a16="http://schemas.microsoft.com/office/drawing/2014/main" id="{6F3CD315-706A-434B-868F-34214EBB8D8B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SPAGNE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</a:t>
            </a:r>
            <a:r>
              <a:rPr lang="fr-FR"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UISSE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LETERRE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OGN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AN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OC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N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S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</a:t>
            </a:r>
            <a:r>
              <a:rPr lang="fr-FR"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U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</a:t>
            </a:r>
            <a:r>
              <a:rPr lang="fr-FR"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</a:t>
            </a:r>
            <a:r>
              <a:rPr lang="fr-FR"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O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UBL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 DOMINICAIN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R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lang="fr-FR"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.A.U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4193309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32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98553" y="98195"/>
            <a:ext cx="5835600" cy="306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Interne - DIG - Présentation Outils BU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432" y="420330"/>
            <a:ext cx="8614721" cy="6858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432" y="1248355"/>
            <a:ext cx="8614721" cy="5227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03105" y="100575"/>
            <a:ext cx="5831048" cy="115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66747" y="0"/>
            <a:ext cx="342000" cy="3996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45720" rIns="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5D1AE67-A6AF-4140-9B54-D4B451EC2AA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TextBox 11"/>
          <p:cNvSpPr txBox="1"/>
          <p:nvPr/>
        </p:nvSpPr>
        <p:spPr>
          <a:xfrm>
            <a:off x="0" y="6741368"/>
            <a:ext cx="9906000" cy="116632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283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1" r:id="rId2"/>
    <p:sldLayoutId id="2147483870" r:id="rId3"/>
    <p:sldLayoutId id="2147483690" r:id="rId4"/>
    <p:sldLayoutId id="2147483890" r:id="rId5"/>
    <p:sldLayoutId id="2147483885" r:id="rId6"/>
    <p:sldLayoutId id="2147483881" r:id="rId7"/>
    <p:sldLayoutId id="2147483886" r:id="rId8"/>
    <p:sldLayoutId id="2147483887" r:id="rId9"/>
    <p:sldLayoutId id="2147483888" r:id="rId10"/>
    <p:sldLayoutId id="2147483889" r:id="rId11"/>
    <p:sldLayoutId id="2147483872" r:id="rId12"/>
    <p:sldLayoutId id="2147483892" r:id="rId13"/>
    <p:sldLayoutId id="2147483884" r:id="rId14"/>
    <p:sldLayoutId id="2147483899" r:id="rId15"/>
    <p:sldLayoutId id="2147483902" r:id="rId16"/>
    <p:sldLayoutId id="2147483901" r:id="rId17"/>
    <p:sldLayoutId id="2147483873" r:id="rId18"/>
    <p:sldLayoutId id="2147483882" r:id="rId19"/>
    <p:sldLayoutId id="2147483891" r:id="rId20"/>
    <p:sldLayoutId id="2147483734" r:id="rId21"/>
    <p:sldLayoutId id="2147483731" r:id="rId22"/>
    <p:sldLayoutId id="2147483718" r:id="rId23"/>
    <p:sldLayoutId id="2147483893" r:id="rId24"/>
    <p:sldLayoutId id="2147483733" r:id="rId25"/>
    <p:sldLayoutId id="2147483900" r:id="rId26"/>
    <p:sldLayoutId id="2147483897" r:id="rId27"/>
    <p:sldLayoutId id="2147483874" r:id="rId28"/>
    <p:sldLayoutId id="2147483880" r:id="rId29"/>
    <p:sldLayoutId id="2147483877" r:id="rId30"/>
    <p:sldLayoutId id="2147483875" r:id="rId31"/>
    <p:sldLayoutId id="2147483898" r:id="rId32"/>
    <p:sldLayoutId id="2147483876" r:id="rId33"/>
    <p:sldLayoutId id="2147483878" r:id="rId34"/>
    <p:sldLayoutId id="2147483732" r:id="rId35"/>
    <p:sldLayoutId id="2147483883" r:id="rId36"/>
    <p:sldLayoutId id="2147483879" r:id="rId37"/>
    <p:sldLayoutId id="2147483896" r:id="rId38"/>
    <p:sldLayoutId id="2147483895" r:id="rId39"/>
    <p:sldLayoutId id="2147483894" r:id="rId40"/>
    <p:sldLayoutId id="2147483755" r:id="rId41"/>
    <p:sldLayoutId id="2147483865" r:id="rId42"/>
    <p:sldLayoutId id="2147483866" r:id="rId4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Myriad Pro" panose="020B0503030403020204" pitchFamily="34" charset="0"/>
        <a:buChar char="›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yriad Pro" panose="020B0503030403020204" pitchFamily="34" charset="0"/>
        <a:buChar char="›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200"/>
        </a:spcBef>
        <a:buFont typeface="Myriad Pro" panose="020B0503030403020204" pitchFamily="34" charset="0"/>
        <a:buChar char="›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100"/>
        </a:spcBef>
        <a:buFont typeface="Myriad Pro" panose="020B0503030403020204" pitchFamily="34" charset="0"/>
        <a:buChar char="›"/>
        <a:defRPr sz="14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0"/>
        </a:spcBef>
        <a:buFont typeface="Myriad Pro" panose="020B0503030403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95761A52-1304-4A60-8DEE-CE0F518B2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229"/>
            <a:ext cx="8543925" cy="435173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 dirty="0"/>
              <a:t>Text level 1</a:t>
            </a:r>
          </a:p>
          <a:p>
            <a:pPr lvl="1"/>
            <a:r>
              <a:rPr lang="en-US" noProof="0" dirty="0"/>
              <a:t>Text level 2</a:t>
            </a:r>
          </a:p>
          <a:p>
            <a:pPr lvl="2"/>
            <a:r>
              <a:rPr lang="en-US" noProof="0" dirty="0"/>
              <a:t>Text level 3</a:t>
            </a:r>
          </a:p>
          <a:p>
            <a:pPr lvl="3"/>
            <a:r>
              <a:rPr lang="en-US" noProof="0" dirty="0"/>
              <a:t>Text level 4</a:t>
            </a:r>
          </a:p>
          <a:p>
            <a:pPr lvl="4"/>
            <a:r>
              <a:rPr lang="en-US" noProof="0" dirty="0"/>
              <a:t>Text level 5</a:t>
            </a:r>
          </a:p>
          <a:p>
            <a:pPr lvl="5"/>
            <a:r>
              <a:rPr lang="en-US" noProof="0" dirty="0"/>
              <a:t>Text level 6</a:t>
            </a:r>
          </a:p>
          <a:p>
            <a:pPr lvl="6"/>
            <a:r>
              <a:rPr lang="en-US" noProof="0" dirty="0"/>
              <a:t>Text level 7</a:t>
            </a:r>
          </a:p>
          <a:p>
            <a:pPr lvl="7"/>
            <a:r>
              <a:rPr lang="en-US" noProof="0" dirty="0"/>
              <a:t>Text level 8</a:t>
            </a:r>
          </a:p>
        </p:txBody>
      </p:sp>
      <p:sp>
        <p:nvSpPr>
          <p:cNvPr id="3" name="bg object 20">
            <a:extLst>
              <a:ext uri="{FF2B5EF4-FFF2-40B4-BE49-F238E27FC236}">
                <a16:creationId xmlns:a16="http://schemas.microsoft.com/office/drawing/2014/main" id="{D3E5BA15-966F-4DD8-AA19-992D7F85BCCC}"/>
              </a:ext>
            </a:extLst>
          </p:cNvPr>
          <p:cNvSpPr/>
          <p:nvPr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1097" noProof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9C00CF-42F5-4DD5-BD7D-F5309C838D05}"/>
              </a:ext>
            </a:extLst>
          </p:cNvPr>
          <p:cNvSpPr txBox="1"/>
          <p:nvPr/>
        </p:nvSpPr>
        <p:spPr>
          <a:xfrm>
            <a:off x="9417666" y="6409850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13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13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DDCEA-0DE3-47D0-9375-2237A04C9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3" y="6412034"/>
            <a:ext cx="3343275" cy="1860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8565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xStyles>
    <p:titleStyle>
      <a:lvl1pPr marL="8775" algn="l" eaLnBrk="1" hangingPunct="1">
        <a:spcBef>
          <a:spcPts val="61"/>
        </a:spcBef>
        <a:defRPr sz="3291">
          <a:latin typeface="+mj-lt"/>
          <a:ea typeface="+mj-ea"/>
          <a:cs typeface="+mj-cs"/>
        </a:defRPr>
      </a:lvl1pPr>
    </p:titleStyle>
    <p:bodyStyle>
      <a:lvl1pPr marL="0" algn="l" eaLnBrk="1" hangingPunct="1">
        <a:lnSpc>
          <a:spcPct val="110000"/>
        </a:lnSpc>
        <a:spcBef>
          <a:spcPts val="378"/>
        </a:spcBef>
        <a:spcAft>
          <a:spcPts val="378"/>
        </a:spcAft>
        <a:defRPr sz="1463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algn="l" eaLnBrk="1" hangingPunct="1">
        <a:lnSpc>
          <a:spcPct val="110000"/>
        </a:lnSpc>
        <a:spcBef>
          <a:spcPts val="0"/>
        </a:spcBef>
        <a:spcAft>
          <a:spcPts val="378"/>
        </a:spcAft>
        <a:defRPr sz="128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0" algn="l" eaLnBrk="1" hangingPunct="1">
        <a:lnSpc>
          <a:spcPct val="110000"/>
        </a:lnSpc>
        <a:spcBef>
          <a:spcPts val="0"/>
        </a:spcBef>
        <a:spcAft>
          <a:spcPts val="378"/>
        </a:spcAft>
        <a:defRPr kern="120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175500" indent="-131625" algn="l" eaLnBrk="1" hangingPunct="1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1097" kern="1200" baseline="0">
          <a:solidFill>
            <a:schemeClr val="accent3"/>
          </a:solidFill>
          <a:latin typeface="+mn-lt"/>
          <a:ea typeface="+mn-ea"/>
          <a:cs typeface="+mn-cs"/>
        </a:defRPr>
      </a:lvl4pPr>
      <a:lvl5pPr marL="0" algn="l" eaLnBrk="1" hangingPunct="1">
        <a:lnSpc>
          <a:spcPct val="110000"/>
        </a:lnSpc>
        <a:spcBef>
          <a:spcPts val="0"/>
        </a:spcBef>
        <a:spcAft>
          <a:spcPts val="378"/>
        </a:spcAft>
        <a:defRPr sz="914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75500" indent="-131625" algn="l" eaLnBrk="1" hangingPunct="1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914">
          <a:solidFill>
            <a:schemeClr val="tx2"/>
          </a:solidFill>
          <a:latin typeface="+mn-lt"/>
          <a:ea typeface="+mn-ea"/>
          <a:cs typeface="+mn-cs"/>
        </a:defRPr>
      </a:lvl6pPr>
      <a:lvl7pPr marL="0" algn="l" eaLnBrk="1" hangingPunct="1">
        <a:lnSpc>
          <a:spcPct val="110000"/>
        </a:lnSpc>
        <a:spcBef>
          <a:spcPts val="378"/>
        </a:spcBef>
        <a:spcAft>
          <a:spcPts val="0"/>
        </a:spcAft>
        <a:defRPr sz="792">
          <a:solidFill>
            <a:schemeClr val="accent1"/>
          </a:solidFill>
          <a:latin typeface="+mn-lt"/>
          <a:ea typeface="+mn-ea"/>
          <a:cs typeface="+mn-cs"/>
        </a:defRPr>
      </a:lvl7pPr>
      <a:lvl8pPr marL="175500" indent="-131625" algn="l" eaLnBrk="1" hangingPunct="1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792">
          <a:solidFill>
            <a:schemeClr val="accent1"/>
          </a:solidFill>
          <a:latin typeface="+mn-lt"/>
          <a:ea typeface="+mn-ea"/>
          <a:cs typeface="+mn-cs"/>
        </a:defRPr>
      </a:lvl8pPr>
      <a:lvl9pPr marL="222885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8606" eaLnBrk="1" hangingPunct="1">
        <a:defRPr>
          <a:latin typeface="+mn-lt"/>
          <a:ea typeface="+mn-ea"/>
          <a:cs typeface="+mn-cs"/>
        </a:defRPr>
      </a:lvl2pPr>
      <a:lvl3pPr marL="557213" eaLnBrk="1" hangingPunct="1">
        <a:defRPr>
          <a:latin typeface="+mn-lt"/>
          <a:ea typeface="+mn-ea"/>
          <a:cs typeface="+mn-cs"/>
        </a:defRPr>
      </a:lvl3pPr>
      <a:lvl4pPr marL="835819" eaLnBrk="1" hangingPunct="1">
        <a:defRPr>
          <a:latin typeface="+mn-lt"/>
          <a:ea typeface="+mn-ea"/>
          <a:cs typeface="+mn-cs"/>
        </a:defRPr>
      </a:lvl4pPr>
      <a:lvl5pPr marL="1114425" eaLnBrk="1" hangingPunct="1">
        <a:defRPr>
          <a:latin typeface="+mn-lt"/>
          <a:ea typeface="+mn-ea"/>
          <a:cs typeface="+mn-cs"/>
        </a:defRPr>
      </a:lvl5pPr>
      <a:lvl6pPr marL="1393031" eaLnBrk="1" hangingPunct="1">
        <a:defRPr>
          <a:latin typeface="+mn-lt"/>
          <a:ea typeface="+mn-ea"/>
          <a:cs typeface="+mn-cs"/>
        </a:defRPr>
      </a:lvl6pPr>
      <a:lvl7pPr marL="1671638" eaLnBrk="1" hangingPunct="1">
        <a:defRPr>
          <a:latin typeface="+mn-lt"/>
          <a:ea typeface="+mn-ea"/>
          <a:cs typeface="+mn-cs"/>
        </a:defRPr>
      </a:lvl7pPr>
      <a:lvl8pPr marL="1950244" eaLnBrk="1" hangingPunct="1">
        <a:defRPr>
          <a:latin typeface="+mn-lt"/>
          <a:ea typeface="+mn-ea"/>
          <a:cs typeface="+mn-cs"/>
        </a:defRPr>
      </a:lvl8pPr>
      <a:lvl9pPr marL="222885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95761A52-1304-4A60-8DEE-CE0F518B2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229"/>
            <a:ext cx="8543925" cy="435173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 dirty="0"/>
              <a:t>Text level 1</a:t>
            </a:r>
          </a:p>
          <a:p>
            <a:pPr lvl="1"/>
            <a:r>
              <a:rPr lang="en-US" noProof="0" dirty="0"/>
              <a:t>Text level 2</a:t>
            </a:r>
          </a:p>
          <a:p>
            <a:pPr lvl="2"/>
            <a:r>
              <a:rPr lang="en-US" noProof="0" dirty="0"/>
              <a:t>Text level 3</a:t>
            </a:r>
          </a:p>
          <a:p>
            <a:pPr lvl="3"/>
            <a:r>
              <a:rPr lang="en-US" noProof="0" dirty="0"/>
              <a:t>Text level 4</a:t>
            </a:r>
          </a:p>
          <a:p>
            <a:pPr lvl="4"/>
            <a:r>
              <a:rPr lang="en-US" noProof="0" dirty="0"/>
              <a:t>Text level 5</a:t>
            </a:r>
          </a:p>
          <a:p>
            <a:pPr lvl="5"/>
            <a:r>
              <a:rPr lang="en-US" noProof="0" dirty="0"/>
              <a:t>Text level 6</a:t>
            </a:r>
          </a:p>
          <a:p>
            <a:pPr lvl="6"/>
            <a:r>
              <a:rPr lang="en-US" noProof="0" dirty="0"/>
              <a:t>Text level 7</a:t>
            </a:r>
          </a:p>
          <a:p>
            <a:pPr lvl="7"/>
            <a:r>
              <a:rPr lang="en-US" noProof="0" dirty="0"/>
              <a:t>Text level 8</a:t>
            </a:r>
          </a:p>
        </p:txBody>
      </p:sp>
      <p:sp>
        <p:nvSpPr>
          <p:cNvPr id="3" name="bg object 20">
            <a:extLst>
              <a:ext uri="{FF2B5EF4-FFF2-40B4-BE49-F238E27FC236}">
                <a16:creationId xmlns:a16="http://schemas.microsoft.com/office/drawing/2014/main" id="{D3E5BA15-966F-4DD8-AA19-992D7F85BCCC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9C00CF-42F5-4DD5-BD7D-F5309C838D05}"/>
              </a:ext>
            </a:extLst>
          </p:cNvPr>
          <p:cNvSpPr txBox="1"/>
          <p:nvPr userDrawn="1"/>
        </p:nvSpPr>
        <p:spPr>
          <a:xfrm>
            <a:off x="9417665" y="6409849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DDCEA-0DE3-47D0-9375-2237A04C9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52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717" r:id="rId7"/>
    <p:sldLayoutId id="2147483699" r:id="rId8"/>
    <p:sldLayoutId id="2147483700" r:id="rId9"/>
    <p:sldLayoutId id="2147483719" r:id="rId10"/>
    <p:sldLayoutId id="2147483701" r:id="rId11"/>
    <p:sldLayoutId id="2147483702" r:id="rId12"/>
    <p:sldLayoutId id="2147483703" r:id="rId13"/>
    <p:sldLayoutId id="2147483721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20" r:id="rId26"/>
    <p:sldLayoutId id="2147483938" r:id="rId27"/>
    <p:sldLayoutId id="2147483936" r:id="rId28"/>
  </p:sldLayoutIdLst>
  <p:hf sldNum="0" hdr="0" dt="0"/>
  <p:txStyles>
    <p:titleStyle>
      <a:lvl1pPr marL="8775" algn="l">
        <a:spcBef>
          <a:spcPts val="61"/>
        </a:spcBef>
        <a:defRPr sz="3291">
          <a:latin typeface="+mj-lt"/>
          <a:ea typeface="+mj-ea"/>
          <a:cs typeface="+mj-cs"/>
        </a:defRPr>
      </a:lvl1pPr>
    </p:titleStyle>
    <p:bodyStyle>
      <a:lvl1pPr marL="0" algn="l">
        <a:lnSpc>
          <a:spcPct val="110000"/>
        </a:lnSpc>
        <a:spcBef>
          <a:spcPts val="378"/>
        </a:spcBef>
        <a:spcAft>
          <a:spcPts val="378"/>
        </a:spcAft>
        <a:defRPr sz="1463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algn="l">
        <a:lnSpc>
          <a:spcPct val="110000"/>
        </a:lnSpc>
        <a:spcBef>
          <a:spcPts val="0"/>
        </a:spcBef>
        <a:spcAft>
          <a:spcPts val="378"/>
        </a:spcAft>
        <a:defRPr sz="128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0" algn="l">
        <a:lnSpc>
          <a:spcPct val="110000"/>
        </a:lnSpc>
        <a:spcBef>
          <a:spcPts val="0"/>
        </a:spcBef>
        <a:spcAft>
          <a:spcPts val="378"/>
        </a:spcAft>
        <a:defRPr kern="120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1097" kern="1200" baseline="0">
          <a:solidFill>
            <a:schemeClr val="accent3"/>
          </a:solidFill>
          <a:latin typeface="+mn-lt"/>
          <a:ea typeface="+mn-ea"/>
          <a:cs typeface="+mn-cs"/>
        </a:defRPr>
      </a:lvl4pPr>
      <a:lvl5pPr marL="0" algn="l">
        <a:lnSpc>
          <a:spcPct val="110000"/>
        </a:lnSpc>
        <a:spcBef>
          <a:spcPts val="0"/>
        </a:spcBef>
        <a:spcAft>
          <a:spcPts val="378"/>
        </a:spcAft>
        <a:defRPr sz="914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914">
          <a:solidFill>
            <a:schemeClr val="tx2"/>
          </a:solidFill>
          <a:latin typeface="+mn-lt"/>
          <a:ea typeface="+mn-ea"/>
          <a:cs typeface="+mn-cs"/>
        </a:defRPr>
      </a:lvl6pPr>
      <a:lvl7pPr marL="0" algn="l">
        <a:lnSpc>
          <a:spcPct val="110000"/>
        </a:lnSpc>
        <a:spcBef>
          <a:spcPts val="378"/>
        </a:spcBef>
        <a:spcAft>
          <a:spcPts val="0"/>
        </a:spcAft>
        <a:defRPr sz="792">
          <a:solidFill>
            <a:schemeClr val="accent1"/>
          </a:solidFill>
          <a:latin typeface="+mn-lt"/>
          <a:ea typeface="+mn-ea"/>
          <a:cs typeface="+mn-cs"/>
        </a:defRPr>
      </a:lvl7pPr>
      <a:lvl8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792">
          <a:solidFill>
            <a:schemeClr val="accent1"/>
          </a:solidFill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8618">
        <a:defRPr>
          <a:latin typeface="+mn-lt"/>
          <a:ea typeface="+mn-ea"/>
          <a:cs typeface="+mn-cs"/>
        </a:defRPr>
      </a:lvl2pPr>
      <a:lvl3pPr marL="557235">
        <a:defRPr>
          <a:latin typeface="+mn-lt"/>
          <a:ea typeface="+mn-ea"/>
          <a:cs typeface="+mn-cs"/>
        </a:defRPr>
      </a:lvl3pPr>
      <a:lvl4pPr marL="835853">
        <a:defRPr>
          <a:latin typeface="+mn-lt"/>
          <a:ea typeface="+mn-ea"/>
          <a:cs typeface="+mn-cs"/>
        </a:defRPr>
      </a:lvl4pPr>
      <a:lvl5pPr marL="1114471">
        <a:defRPr>
          <a:latin typeface="+mn-lt"/>
          <a:ea typeface="+mn-ea"/>
          <a:cs typeface="+mn-cs"/>
        </a:defRPr>
      </a:lvl5pPr>
      <a:lvl6pPr marL="1393088">
        <a:defRPr>
          <a:latin typeface="+mn-lt"/>
          <a:ea typeface="+mn-ea"/>
          <a:cs typeface="+mn-cs"/>
        </a:defRPr>
      </a:lvl6pPr>
      <a:lvl7pPr marL="1671706">
        <a:defRPr>
          <a:latin typeface="+mn-lt"/>
          <a:ea typeface="+mn-ea"/>
          <a:cs typeface="+mn-cs"/>
        </a:defRPr>
      </a:lvl7pPr>
      <a:lvl8pPr marL="1950324">
        <a:defRPr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95761A52-1304-4A60-8DEE-CE0F518B2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229"/>
            <a:ext cx="8543925" cy="435173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 dirty="0"/>
              <a:t>Text level 1</a:t>
            </a:r>
          </a:p>
          <a:p>
            <a:pPr lvl="1"/>
            <a:r>
              <a:rPr lang="en-US" noProof="0" dirty="0"/>
              <a:t>Text level 2</a:t>
            </a:r>
          </a:p>
          <a:p>
            <a:pPr lvl="2"/>
            <a:r>
              <a:rPr lang="en-US" noProof="0" dirty="0"/>
              <a:t>Text level 3</a:t>
            </a:r>
          </a:p>
          <a:p>
            <a:pPr lvl="3"/>
            <a:r>
              <a:rPr lang="en-US" noProof="0" dirty="0"/>
              <a:t>Text level 4</a:t>
            </a:r>
          </a:p>
          <a:p>
            <a:pPr lvl="4"/>
            <a:r>
              <a:rPr lang="en-US" noProof="0" dirty="0"/>
              <a:t>Text level 5</a:t>
            </a:r>
          </a:p>
          <a:p>
            <a:pPr lvl="5"/>
            <a:r>
              <a:rPr lang="en-US" noProof="0" dirty="0"/>
              <a:t>Text level 6</a:t>
            </a:r>
          </a:p>
          <a:p>
            <a:pPr lvl="6"/>
            <a:r>
              <a:rPr lang="en-US" noProof="0" dirty="0"/>
              <a:t>Text level 7</a:t>
            </a:r>
          </a:p>
          <a:p>
            <a:pPr lvl="7"/>
            <a:r>
              <a:rPr lang="en-US" noProof="0" dirty="0"/>
              <a:t>Text level 8</a:t>
            </a:r>
          </a:p>
        </p:txBody>
      </p:sp>
      <p:sp>
        <p:nvSpPr>
          <p:cNvPr id="3" name="bg object 20">
            <a:extLst>
              <a:ext uri="{FF2B5EF4-FFF2-40B4-BE49-F238E27FC236}">
                <a16:creationId xmlns:a16="http://schemas.microsoft.com/office/drawing/2014/main" id="{D3E5BA15-966F-4DD8-AA19-992D7F85BCCC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9C00CF-42F5-4DD5-BD7D-F5309C838D05}"/>
              </a:ext>
            </a:extLst>
          </p:cNvPr>
          <p:cNvSpPr txBox="1"/>
          <p:nvPr userDrawn="1"/>
        </p:nvSpPr>
        <p:spPr>
          <a:xfrm>
            <a:off x="9417665" y="6305647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0722045-20FB-45FA-9117-8ADC510CA52D}"/>
              </a:ext>
            </a:extLst>
          </p:cNvPr>
          <p:cNvCxnSpPr>
            <a:cxnSpLocks/>
          </p:cNvCxnSpPr>
          <p:nvPr userDrawn="1"/>
        </p:nvCxnSpPr>
        <p:spPr>
          <a:xfrm>
            <a:off x="9453707" y="6549390"/>
            <a:ext cx="347374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0F18753-7D26-490B-9E11-C62C33337156}"/>
              </a:ext>
            </a:extLst>
          </p:cNvPr>
          <p:cNvSpPr txBox="1"/>
          <p:nvPr userDrawn="1"/>
        </p:nvSpPr>
        <p:spPr>
          <a:xfrm>
            <a:off x="9353984" y="6598710"/>
            <a:ext cx="546820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5418" lvl="0" indent="0" algn="ctr" defTabSz="557235" rtl="0" eaLnBrk="1" fontAlgn="auto" latinLnBrk="0" hangingPunct="1">
              <a:lnSpc>
                <a:spcPct val="100000"/>
              </a:lnSpc>
              <a:spcBef>
                <a:spcPts val="41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2" b="0" i="0" u="none" strike="noStrike" kern="1200" cap="none" spc="49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7</a:t>
            </a:r>
            <a:endParaRPr lang="en-US" sz="792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DDCEA-0DE3-47D0-9375-2237A04C9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18289"/>
            <a:ext cx="3343275" cy="37356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01/09/2020  |  ©2020 </a:t>
            </a:r>
            <a:r>
              <a:rPr lang="en-US" dirty="0" err="1"/>
              <a:t>Inetum</a:t>
            </a:r>
            <a:r>
              <a:rPr lang="en-US" dirty="0"/>
              <a:t>  | Ref. XXXXXX v1.0</a:t>
            </a:r>
          </a:p>
          <a:p>
            <a:r>
              <a:rPr lang="en-US" dirty="0"/>
              <a:t>Classification: [choose internal, external or confidential] document</a:t>
            </a:r>
          </a:p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5552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  <p:sldLayoutId id="2147483928" r:id="rId25"/>
    <p:sldLayoutId id="2147483929" r:id="rId26"/>
    <p:sldLayoutId id="2147483930" r:id="rId27"/>
  </p:sldLayoutIdLst>
  <p:hf sldNum="0" hdr="0" dt="0"/>
  <p:txStyles>
    <p:titleStyle>
      <a:lvl1pPr marL="8775" algn="l">
        <a:spcBef>
          <a:spcPts val="61"/>
        </a:spcBef>
        <a:defRPr sz="3291">
          <a:latin typeface="+mj-lt"/>
          <a:ea typeface="+mj-ea"/>
          <a:cs typeface="+mj-cs"/>
        </a:defRPr>
      </a:lvl1pPr>
    </p:titleStyle>
    <p:bodyStyle>
      <a:lvl1pPr marL="0" algn="l">
        <a:lnSpc>
          <a:spcPct val="110000"/>
        </a:lnSpc>
        <a:spcBef>
          <a:spcPts val="378"/>
        </a:spcBef>
        <a:spcAft>
          <a:spcPts val="378"/>
        </a:spcAft>
        <a:defRPr sz="1463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algn="l">
        <a:lnSpc>
          <a:spcPct val="110000"/>
        </a:lnSpc>
        <a:spcBef>
          <a:spcPts val="0"/>
        </a:spcBef>
        <a:spcAft>
          <a:spcPts val="378"/>
        </a:spcAft>
        <a:defRPr sz="128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0" algn="l">
        <a:lnSpc>
          <a:spcPct val="110000"/>
        </a:lnSpc>
        <a:spcBef>
          <a:spcPts val="0"/>
        </a:spcBef>
        <a:spcAft>
          <a:spcPts val="378"/>
        </a:spcAft>
        <a:defRPr kern="120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1097" kern="1200" baseline="0">
          <a:solidFill>
            <a:schemeClr val="accent3"/>
          </a:solidFill>
          <a:latin typeface="+mn-lt"/>
          <a:ea typeface="+mn-ea"/>
          <a:cs typeface="+mn-cs"/>
        </a:defRPr>
      </a:lvl4pPr>
      <a:lvl5pPr marL="0" algn="l">
        <a:lnSpc>
          <a:spcPct val="110000"/>
        </a:lnSpc>
        <a:spcBef>
          <a:spcPts val="0"/>
        </a:spcBef>
        <a:spcAft>
          <a:spcPts val="378"/>
        </a:spcAft>
        <a:defRPr sz="914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914">
          <a:solidFill>
            <a:schemeClr val="tx2"/>
          </a:solidFill>
          <a:latin typeface="+mn-lt"/>
          <a:ea typeface="+mn-ea"/>
          <a:cs typeface="+mn-cs"/>
        </a:defRPr>
      </a:lvl6pPr>
      <a:lvl7pPr marL="0" algn="l">
        <a:lnSpc>
          <a:spcPct val="110000"/>
        </a:lnSpc>
        <a:spcBef>
          <a:spcPts val="378"/>
        </a:spcBef>
        <a:spcAft>
          <a:spcPts val="0"/>
        </a:spcAft>
        <a:defRPr sz="792">
          <a:solidFill>
            <a:schemeClr val="accent1"/>
          </a:solidFill>
          <a:latin typeface="+mn-lt"/>
          <a:ea typeface="+mn-ea"/>
          <a:cs typeface="+mn-cs"/>
        </a:defRPr>
      </a:lvl7pPr>
      <a:lvl8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792">
          <a:solidFill>
            <a:schemeClr val="accent1"/>
          </a:solidFill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8618">
        <a:defRPr>
          <a:latin typeface="+mn-lt"/>
          <a:ea typeface="+mn-ea"/>
          <a:cs typeface="+mn-cs"/>
        </a:defRPr>
      </a:lvl2pPr>
      <a:lvl3pPr marL="557235">
        <a:defRPr>
          <a:latin typeface="+mn-lt"/>
          <a:ea typeface="+mn-ea"/>
          <a:cs typeface="+mn-cs"/>
        </a:defRPr>
      </a:lvl3pPr>
      <a:lvl4pPr marL="835853">
        <a:defRPr>
          <a:latin typeface="+mn-lt"/>
          <a:ea typeface="+mn-ea"/>
          <a:cs typeface="+mn-cs"/>
        </a:defRPr>
      </a:lvl4pPr>
      <a:lvl5pPr marL="1114471">
        <a:defRPr>
          <a:latin typeface="+mn-lt"/>
          <a:ea typeface="+mn-ea"/>
          <a:cs typeface="+mn-cs"/>
        </a:defRPr>
      </a:lvl5pPr>
      <a:lvl6pPr marL="1393088">
        <a:defRPr>
          <a:latin typeface="+mn-lt"/>
          <a:ea typeface="+mn-ea"/>
          <a:cs typeface="+mn-cs"/>
        </a:defRPr>
      </a:lvl6pPr>
      <a:lvl7pPr marL="1671706">
        <a:defRPr>
          <a:latin typeface="+mn-lt"/>
          <a:ea typeface="+mn-ea"/>
          <a:cs typeface="+mn-cs"/>
        </a:defRPr>
      </a:lvl7pPr>
      <a:lvl8pPr marL="1950324">
        <a:defRPr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95761A52-1304-4A60-8DEE-CE0F518B2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229"/>
            <a:ext cx="8543925" cy="435173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  <a:p>
            <a:pPr lvl="5"/>
            <a:r>
              <a:rPr lang="en-US" noProof="0"/>
              <a:t>Text level 6</a:t>
            </a:r>
          </a:p>
          <a:p>
            <a:pPr lvl="6"/>
            <a:r>
              <a:rPr lang="en-US" noProof="0"/>
              <a:t>Text level 7</a:t>
            </a:r>
          </a:p>
          <a:p>
            <a:pPr lvl="7"/>
            <a:r>
              <a:rPr lang="en-US" noProof="0"/>
              <a:t>Text level 8</a:t>
            </a:r>
          </a:p>
        </p:txBody>
      </p:sp>
      <p:sp>
        <p:nvSpPr>
          <p:cNvPr id="3" name="bg object 20">
            <a:extLst>
              <a:ext uri="{FF2B5EF4-FFF2-40B4-BE49-F238E27FC236}">
                <a16:creationId xmlns:a16="http://schemas.microsoft.com/office/drawing/2014/main" id="{D3E5BA15-966F-4DD8-AA19-992D7F85BCCC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9C00CF-42F5-4DD5-BD7D-F5309C838D05}"/>
              </a:ext>
            </a:extLst>
          </p:cNvPr>
          <p:cNvSpPr txBox="1"/>
          <p:nvPr userDrawn="1"/>
        </p:nvSpPr>
        <p:spPr>
          <a:xfrm>
            <a:off x="9417665" y="6418897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DDCEA-0DE3-47D0-9375-2237A04C9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195552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722" r:id="rId5"/>
    <p:sldLayoutId id="2147483937" r:id="rId6"/>
    <p:sldLayoutId id="2147483723" r:id="rId7"/>
    <p:sldLayoutId id="2147483724" r:id="rId8"/>
    <p:sldLayoutId id="2147483725" r:id="rId9"/>
  </p:sldLayoutIdLst>
  <p:hf sldNum="0" hdr="0" dt="0"/>
  <p:txStyles>
    <p:titleStyle>
      <a:lvl1pPr marL="8775" algn="l">
        <a:spcBef>
          <a:spcPts val="61"/>
        </a:spcBef>
        <a:defRPr sz="3291">
          <a:latin typeface="+mj-lt"/>
          <a:ea typeface="+mj-ea"/>
          <a:cs typeface="+mj-cs"/>
        </a:defRPr>
      </a:lvl1pPr>
    </p:titleStyle>
    <p:bodyStyle>
      <a:lvl1pPr marL="0" algn="l">
        <a:lnSpc>
          <a:spcPct val="110000"/>
        </a:lnSpc>
        <a:spcBef>
          <a:spcPts val="378"/>
        </a:spcBef>
        <a:spcAft>
          <a:spcPts val="378"/>
        </a:spcAft>
        <a:defRPr sz="1463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algn="l">
        <a:lnSpc>
          <a:spcPct val="110000"/>
        </a:lnSpc>
        <a:spcBef>
          <a:spcPts val="0"/>
        </a:spcBef>
        <a:spcAft>
          <a:spcPts val="378"/>
        </a:spcAft>
        <a:defRPr sz="128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0" algn="l">
        <a:lnSpc>
          <a:spcPct val="110000"/>
        </a:lnSpc>
        <a:spcBef>
          <a:spcPts val="0"/>
        </a:spcBef>
        <a:spcAft>
          <a:spcPts val="378"/>
        </a:spcAft>
        <a:defRPr kern="120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1097" kern="1200" baseline="0">
          <a:solidFill>
            <a:schemeClr val="accent3"/>
          </a:solidFill>
          <a:latin typeface="+mn-lt"/>
          <a:ea typeface="+mn-ea"/>
          <a:cs typeface="+mn-cs"/>
        </a:defRPr>
      </a:lvl4pPr>
      <a:lvl5pPr marL="0" algn="l">
        <a:lnSpc>
          <a:spcPct val="110000"/>
        </a:lnSpc>
        <a:spcBef>
          <a:spcPts val="0"/>
        </a:spcBef>
        <a:spcAft>
          <a:spcPts val="378"/>
        </a:spcAft>
        <a:defRPr sz="914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914">
          <a:solidFill>
            <a:schemeClr val="tx2"/>
          </a:solidFill>
          <a:latin typeface="+mn-lt"/>
          <a:ea typeface="+mn-ea"/>
          <a:cs typeface="+mn-cs"/>
        </a:defRPr>
      </a:lvl6pPr>
      <a:lvl7pPr marL="0" algn="l">
        <a:lnSpc>
          <a:spcPct val="110000"/>
        </a:lnSpc>
        <a:spcBef>
          <a:spcPts val="378"/>
        </a:spcBef>
        <a:spcAft>
          <a:spcPts val="0"/>
        </a:spcAft>
        <a:defRPr sz="792">
          <a:solidFill>
            <a:schemeClr val="accent1"/>
          </a:solidFill>
          <a:latin typeface="+mn-lt"/>
          <a:ea typeface="+mn-ea"/>
          <a:cs typeface="+mn-cs"/>
        </a:defRPr>
      </a:lvl7pPr>
      <a:lvl8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792">
          <a:solidFill>
            <a:schemeClr val="accent1"/>
          </a:solidFill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8618">
        <a:defRPr>
          <a:latin typeface="+mn-lt"/>
          <a:ea typeface="+mn-ea"/>
          <a:cs typeface="+mn-cs"/>
        </a:defRPr>
      </a:lvl2pPr>
      <a:lvl3pPr marL="557235">
        <a:defRPr>
          <a:latin typeface="+mn-lt"/>
          <a:ea typeface="+mn-ea"/>
          <a:cs typeface="+mn-cs"/>
        </a:defRPr>
      </a:lvl3pPr>
      <a:lvl4pPr marL="835853">
        <a:defRPr>
          <a:latin typeface="+mn-lt"/>
          <a:ea typeface="+mn-ea"/>
          <a:cs typeface="+mn-cs"/>
        </a:defRPr>
      </a:lvl4pPr>
      <a:lvl5pPr marL="1114471">
        <a:defRPr>
          <a:latin typeface="+mn-lt"/>
          <a:ea typeface="+mn-ea"/>
          <a:cs typeface="+mn-cs"/>
        </a:defRPr>
      </a:lvl5pPr>
      <a:lvl6pPr marL="1393088">
        <a:defRPr>
          <a:latin typeface="+mn-lt"/>
          <a:ea typeface="+mn-ea"/>
          <a:cs typeface="+mn-cs"/>
        </a:defRPr>
      </a:lvl6pPr>
      <a:lvl7pPr marL="1671706">
        <a:defRPr>
          <a:latin typeface="+mn-lt"/>
          <a:ea typeface="+mn-ea"/>
          <a:cs typeface="+mn-cs"/>
        </a:defRPr>
      </a:lvl7pPr>
      <a:lvl8pPr marL="1950324">
        <a:defRPr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52.pn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1.xml"/><Relationship Id="rId6" Type="http://schemas.openxmlformats.org/officeDocument/2006/relationships/image" Target="../media/image55.png"/><Relationship Id="rId11" Type="http://schemas.openxmlformats.org/officeDocument/2006/relationships/image" Target="../media/image59.svg"/><Relationship Id="rId5" Type="http://schemas.openxmlformats.org/officeDocument/2006/relationships/image" Target="../media/image54.svg"/><Relationship Id="rId10" Type="http://schemas.openxmlformats.org/officeDocument/2006/relationships/image" Target="../media/image58.svg"/><Relationship Id="rId4" Type="http://schemas.openxmlformats.org/officeDocument/2006/relationships/image" Target="../media/image53.svg"/><Relationship Id="rId9" Type="http://schemas.openxmlformats.org/officeDocument/2006/relationships/image" Target="../media/image57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13" Type="http://schemas.openxmlformats.org/officeDocument/2006/relationships/image" Target="../media/image70.png"/><Relationship Id="rId18" Type="http://schemas.openxmlformats.org/officeDocument/2006/relationships/image" Target="../media/image75.sv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12" Type="http://schemas.openxmlformats.org/officeDocument/2006/relationships/image" Target="../media/image69.svg"/><Relationship Id="rId17" Type="http://schemas.openxmlformats.org/officeDocument/2006/relationships/image" Target="../media/image74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73.svg"/><Relationship Id="rId1" Type="http://schemas.openxmlformats.org/officeDocument/2006/relationships/slideLayout" Target="../slideLayouts/slideLayout131.xml"/><Relationship Id="rId6" Type="http://schemas.openxmlformats.org/officeDocument/2006/relationships/image" Target="../media/image63.svg"/><Relationship Id="rId11" Type="http://schemas.openxmlformats.org/officeDocument/2006/relationships/image" Target="../media/image68.png"/><Relationship Id="rId5" Type="http://schemas.openxmlformats.org/officeDocument/2006/relationships/image" Target="../media/image62.png"/><Relationship Id="rId15" Type="http://schemas.openxmlformats.org/officeDocument/2006/relationships/image" Target="../media/image72.png"/><Relationship Id="rId10" Type="http://schemas.openxmlformats.org/officeDocument/2006/relationships/image" Target="../media/image67.svg"/><Relationship Id="rId19" Type="http://schemas.openxmlformats.org/officeDocument/2006/relationships/image" Target="../media/image76.png"/><Relationship Id="rId4" Type="http://schemas.openxmlformats.org/officeDocument/2006/relationships/image" Target="../media/image61.svg"/><Relationship Id="rId9" Type="http://schemas.openxmlformats.org/officeDocument/2006/relationships/image" Target="../media/image66.png"/><Relationship Id="rId14" Type="http://schemas.openxmlformats.org/officeDocument/2006/relationships/image" Target="../media/image7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5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4BED62A-1F67-42F3-94E9-47A023C4CB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5900" y="3552514"/>
            <a:ext cx="6934200" cy="1045592"/>
          </a:xfrm>
        </p:spPr>
        <p:txBody>
          <a:bodyPr wrap="square" lIns="0" tIns="14400" rIns="0" bIns="0" anchor="t">
            <a:spAutoFit/>
          </a:bodyPr>
          <a:lstStyle/>
          <a:p>
            <a:pPr marL="8255"/>
            <a:r>
              <a:rPr lang="en-US" sz="3350" dirty="0"/>
              <a:t>Organigramme TMA</a:t>
            </a:r>
            <a:br>
              <a:rPr lang="en-US" sz="3350" dirty="0"/>
            </a:br>
            <a:r>
              <a:rPr lang="en-US" sz="3350" dirty="0">
                <a:ea typeface="Verdana"/>
              </a:rPr>
              <a:t>SQUAD 3</a:t>
            </a:r>
          </a:p>
        </p:txBody>
      </p:sp>
    </p:spTree>
    <p:extLst>
      <p:ext uri="{BB962C8B-B14F-4D97-AF65-F5344CB8AC3E}">
        <p14:creationId xmlns:p14="http://schemas.microsoft.com/office/powerpoint/2010/main" val="3993593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6E850B68-66DF-42A6-AA91-DDD26932DF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699" y="953819"/>
            <a:ext cx="7561065" cy="352197"/>
          </a:xfrm>
        </p:spPr>
        <p:txBody>
          <a:bodyPr/>
          <a:lstStyle/>
          <a:p>
            <a:r>
              <a:rPr lang="fr-FR"/>
              <a:t>Organisation Inetum</a:t>
            </a:r>
            <a:endParaRPr lang="fr-FR" sz="1706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B4BD2D-7658-4C8A-8AA1-AE71C631E93E}"/>
              </a:ext>
            </a:extLst>
          </p:cNvPr>
          <p:cNvSpPr/>
          <p:nvPr/>
        </p:nvSpPr>
        <p:spPr>
          <a:xfrm>
            <a:off x="81372" y="1264459"/>
            <a:ext cx="3318325" cy="4724706"/>
          </a:xfrm>
          <a:prstGeom prst="rect">
            <a:avLst/>
          </a:prstGeom>
          <a:solidFill>
            <a:schemeClr val="accent3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>
              <a:solidFill>
                <a:schemeClr val="accent3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C2E7081-6616-4EEE-887B-FDC30AF60C07}"/>
              </a:ext>
            </a:extLst>
          </p:cNvPr>
          <p:cNvSpPr/>
          <p:nvPr/>
        </p:nvSpPr>
        <p:spPr>
          <a:xfrm>
            <a:off x="619471" y="1966712"/>
            <a:ext cx="847159" cy="251055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31">
                <a:solidFill>
                  <a:schemeClr val="bg2">
                    <a:lumMod val="50000"/>
                  </a:schemeClr>
                </a:solidFill>
              </a:rPr>
              <a:t>Responsable </a:t>
            </a:r>
          </a:p>
          <a:p>
            <a:pPr algn="ctr"/>
            <a:r>
              <a:rPr lang="fr-FR" sz="731">
                <a:solidFill>
                  <a:schemeClr val="bg2">
                    <a:lumMod val="50000"/>
                  </a:schemeClr>
                </a:solidFill>
              </a:rPr>
              <a:t>Qualité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49DB48-5FF8-476E-AACA-8A70FFC833BE}"/>
              </a:ext>
            </a:extLst>
          </p:cNvPr>
          <p:cNvSpPr/>
          <p:nvPr/>
        </p:nvSpPr>
        <p:spPr>
          <a:xfrm>
            <a:off x="624032" y="1617482"/>
            <a:ext cx="822331" cy="251055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31">
                <a:solidFill>
                  <a:schemeClr val="bg2">
                    <a:lumMod val="50000"/>
                  </a:schemeClr>
                </a:solidFill>
              </a:rPr>
              <a:t>Correspondant Sécurité Projet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980C80F1-BEEE-4471-9FFA-9580F6E844D1}"/>
              </a:ext>
            </a:extLst>
          </p:cNvPr>
          <p:cNvSpPr/>
          <p:nvPr/>
        </p:nvSpPr>
        <p:spPr>
          <a:xfrm>
            <a:off x="407117" y="2376289"/>
            <a:ext cx="2876758" cy="323768"/>
          </a:xfrm>
          <a:prstGeom prst="round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 b="1">
                <a:solidFill>
                  <a:schemeClr val="accent3"/>
                </a:solidFill>
              </a:rPr>
              <a:t>Sentinell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3C0A441A-80FB-4531-8DAB-2971EC75A3DD}"/>
              </a:ext>
            </a:extLst>
          </p:cNvPr>
          <p:cNvGrpSpPr/>
          <p:nvPr/>
        </p:nvGrpSpPr>
        <p:grpSpPr>
          <a:xfrm>
            <a:off x="1498419" y="1364989"/>
            <a:ext cx="1381382" cy="520546"/>
            <a:chOff x="7805737" y="357708"/>
            <a:chExt cx="2266884" cy="85423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9688B09-7C3D-4FCC-BF5C-5DA38429E6D3}"/>
                </a:ext>
              </a:extLst>
            </p:cNvPr>
            <p:cNvSpPr/>
            <p:nvPr/>
          </p:nvSpPr>
          <p:spPr>
            <a:xfrm>
              <a:off x="8243821" y="676836"/>
              <a:ext cx="1828800" cy="53510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853">
                  <a:solidFill>
                    <a:schemeClr val="accent3"/>
                  </a:solidFill>
                </a:rPr>
                <a:t>Directeur</a:t>
              </a:r>
            </a:p>
            <a:p>
              <a:pPr algn="ctr"/>
              <a:r>
                <a:rPr lang="fr-FR" sz="853">
                  <a:solidFill>
                    <a:schemeClr val="accent3"/>
                  </a:solidFill>
                </a:rPr>
                <a:t>Projet</a:t>
              </a:r>
            </a:p>
          </p:txBody>
        </p:sp>
        <p:pic>
          <p:nvPicPr>
            <p:cNvPr id="12" name="Graphique 11" descr="Programmeur">
              <a:extLst>
                <a:ext uri="{FF2B5EF4-FFF2-40B4-BE49-F238E27FC236}">
                  <a16:creationId xmlns:a16="http://schemas.microsoft.com/office/drawing/2014/main" id="{31DD5DF6-7CA7-481A-ACFC-5D78AE7A0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05737" y="357708"/>
              <a:ext cx="720000" cy="720000"/>
            </a:xfrm>
            <a:prstGeom prst="rect">
              <a:avLst/>
            </a:prstGeom>
          </p:spPr>
        </p:pic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66817CB0-ACBF-41C1-BC4E-FFF9A7283E58}"/>
                </a:ext>
              </a:extLst>
            </p:cNvPr>
            <p:cNvSpPr txBox="1"/>
            <p:nvPr/>
          </p:nvSpPr>
          <p:spPr>
            <a:xfrm>
              <a:off x="8007984" y="832795"/>
              <a:ext cx="311811" cy="169198"/>
            </a:xfrm>
            <a:prstGeom prst="rect">
              <a:avLst/>
            </a:prstGeom>
            <a:solidFill>
              <a:srgbClr val="222C4A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DP</a:t>
              </a:r>
            </a:p>
          </p:txBody>
        </p:sp>
      </p:grpSp>
      <p:pic>
        <p:nvPicPr>
          <p:cNvPr id="14" name="Graphique 13" descr="Programmeur">
            <a:extLst>
              <a:ext uri="{FF2B5EF4-FFF2-40B4-BE49-F238E27FC236}">
                <a16:creationId xmlns:a16="http://schemas.microsoft.com/office/drawing/2014/main" id="{13BF543C-C08E-4B84-9EDF-44B40A9301B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7875"/>
          <a:stretch/>
        </p:blipFill>
        <p:spPr>
          <a:xfrm>
            <a:off x="2245019" y="2505674"/>
            <a:ext cx="438750" cy="228700"/>
          </a:xfrm>
          <a:prstGeom prst="rect">
            <a:avLst/>
          </a:prstGeom>
        </p:spPr>
      </p:pic>
      <p:pic>
        <p:nvPicPr>
          <p:cNvPr id="15" name="Graphique 14" descr="Centre d’appels">
            <a:extLst>
              <a:ext uri="{FF2B5EF4-FFF2-40B4-BE49-F238E27FC236}">
                <a16:creationId xmlns:a16="http://schemas.microsoft.com/office/drawing/2014/main" id="{B9CDABD9-FC04-491A-B074-763548D8D9D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46864"/>
          <a:stretch/>
        </p:blipFill>
        <p:spPr>
          <a:xfrm>
            <a:off x="2245019" y="2279628"/>
            <a:ext cx="438750" cy="233135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EF597FB5-643F-48C4-B512-8E8D66FBD695}"/>
              </a:ext>
            </a:extLst>
          </p:cNvPr>
          <p:cNvSpPr txBox="1"/>
          <p:nvPr/>
        </p:nvSpPr>
        <p:spPr>
          <a:xfrm>
            <a:off x="3019251" y="2567565"/>
            <a:ext cx="190010" cy="103105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v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026BCF5B-358D-4068-8509-2CC5F52BA805}"/>
              </a:ext>
            </a:extLst>
          </p:cNvPr>
          <p:cNvGrpSpPr/>
          <p:nvPr/>
        </p:nvGrpSpPr>
        <p:grpSpPr>
          <a:xfrm>
            <a:off x="360281" y="1802773"/>
            <a:ext cx="438750" cy="438750"/>
            <a:chOff x="11839126" y="792374"/>
            <a:chExt cx="720000" cy="720000"/>
          </a:xfrm>
          <a:solidFill>
            <a:srgbClr val="222C4A"/>
          </a:solidFill>
        </p:grpSpPr>
        <p:pic>
          <p:nvPicPr>
            <p:cNvPr id="18" name="Graphique 17" descr="Programmeur">
              <a:extLst>
                <a:ext uri="{FF2B5EF4-FFF2-40B4-BE49-F238E27FC236}">
                  <a16:creationId xmlns:a16="http://schemas.microsoft.com/office/drawing/2014/main" id="{46D90744-E076-47D9-BEC1-A1ECB77C66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39126" y="792374"/>
              <a:ext cx="720000" cy="720000"/>
            </a:xfrm>
            <a:prstGeom prst="rect">
              <a:avLst/>
            </a:prstGeom>
          </p:spPr>
        </p:pic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EF20B78F-49EE-4D01-AD4A-EF2E9F5ABF28}"/>
                </a:ext>
              </a:extLst>
            </p:cNvPr>
            <p:cNvSpPr txBox="1"/>
            <p:nvPr/>
          </p:nvSpPr>
          <p:spPr>
            <a:xfrm>
              <a:off x="12041373" y="1267461"/>
              <a:ext cx="311811" cy="169198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RQ</a:t>
              </a:r>
            </a:p>
          </p:txBody>
        </p:sp>
      </p:grpSp>
      <p:pic>
        <p:nvPicPr>
          <p:cNvPr id="20" name="Graphique 19" descr="Programmeur">
            <a:extLst>
              <a:ext uri="{FF2B5EF4-FFF2-40B4-BE49-F238E27FC236}">
                <a16:creationId xmlns:a16="http://schemas.microsoft.com/office/drawing/2014/main" id="{9CF2209C-B1C7-4207-A50A-C1C45DEA93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7875"/>
          <a:stretch/>
        </p:blipFill>
        <p:spPr>
          <a:xfrm>
            <a:off x="967631" y="2490853"/>
            <a:ext cx="438750" cy="228700"/>
          </a:xfrm>
          <a:prstGeom prst="rect">
            <a:avLst/>
          </a:prstGeom>
        </p:spPr>
      </p:pic>
      <p:pic>
        <p:nvPicPr>
          <p:cNvPr id="21" name="Graphique 20" descr="Centre d’appels">
            <a:extLst>
              <a:ext uri="{FF2B5EF4-FFF2-40B4-BE49-F238E27FC236}">
                <a16:creationId xmlns:a16="http://schemas.microsoft.com/office/drawing/2014/main" id="{BBA2171F-B7B7-4C76-AAE6-74D84E48983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46864"/>
          <a:stretch/>
        </p:blipFill>
        <p:spPr>
          <a:xfrm>
            <a:off x="967631" y="2264807"/>
            <a:ext cx="438750" cy="233135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C78F4235-2120-4412-B66F-A095A292FB21}"/>
              </a:ext>
            </a:extLst>
          </p:cNvPr>
          <p:cNvSpPr txBox="1"/>
          <p:nvPr/>
        </p:nvSpPr>
        <p:spPr>
          <a:xfrm>
            <a:off x="1092001" y="2570306"/>
            <a:ext cx="190010" cy="103105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v</a:t>
            </a: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AF45FC7F-F48C-4700-A00D-5938C846116F}"/>
              </a:ext>
            </a:extLst>
          </p:cNvPr>
          <p:cNvGrpSpPr/>
          <p:nvPr/>
        </p:nvGrpSpPr>
        <p:grpSpPr>
          <a:xfrm>
            <a:off x="348950" y="1461897"/>
            <a:ext cx="438750" cy="438750"/>
            <a:chOff x="5971445" y="762969"/>
            <a:chExt cx="720000" cy="720000"/>
          </a:xfrm>
          <a:solidFill>
            <a:srgbClr val="222C4A"/>
          </a:solidFill>
        </p:grpSpPr>
        <p:pic>
          <p:nvPicPr>
            <p:cNvPr id="24" name="Graphique 23" descr="Programmeur">
              <a:extLst>
                <a:ext uri="{FF2B5EF4-FFF2-40B4-BE49-F238E27FC236}">
                  <a16:creationId xmlns:a16="http://schemas.microsoft.com/office/drawing/2014/main" id="{E0832822-EFB2-4498-84BE-9367E4411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71445" y="762969"/>
              <a:ext cx="720000" cy="720000"/>
            </a:xfrm>
            <a:prstGeom prst="rect">
              <a:avLst/>
            </a:prstGeom>
          </p:spPr>
        </p:pic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CA10ED3B-059E-47E3-B5BB-015E909CC812}"/>
                </a:ext>
              </a:extLst>
            </p:cNvPr>
            <p:cNvSpPr txBox="1"/>
            <p:nvPr/>
          </p:nvSpPr>
          <p:spPr>
            <a:xfrm>
              <a:off x="6173692" y="1220456"/>
              <a:ext cx="439729" cy="169198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CSP</a:t>
              </a:r>
            </a:p>
          </p:txBody>
        </p:sp>
      </p:grp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354BA775-94A1-4FF6-A272-4AFFE0DA66F3}"/>
              </a:ext>
            </a:extLst>
          </p:cNvPr>
          <p:cNvSpPr/>
          <p:nvPr/>
        </p:nvSpPr>
        <p:spPr>
          <a:xfrm>
            <a:off x="195255" y="4449370"/>
            <a:ext cx="3127495" cy="1318672"/>
          </a:xfrm>
          <a:prstGeom prst="roundRect">
            <a:avLst>
              <a:gd name="adj" fmla="val 9605"/>
            </a:avLst>
          </a:prstGeom>
          <a:noFill/>
          <a:ln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/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BC7E8658-56DF-439B-829A-79AA3080C4D2}"/>
              </a:ext>
            </a:extLst>
          </p:cNvPr>
          <p:cNvSpPr/>
          <p:nvPr/>
        </p:nvSpPr>
        <p:spPr>
          <a:xfrm rot="16200000">
            <a:off x="-729819" y="2247496"/>
            <a:ext cx="1927754" cy="160356"/>
          </a:xfrm>
          <a:prstGeom prst="roundRect">
            <a:avLst>
              <a:gd name="adj" fmla="val 9605"/>
            </a:avLst>
          </a:prstGeom>
          <a:solidFill>
            <a:schemeClr val="accent5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53"/>
              <a:t>Service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791C5FEA-B308-47C6-9ED9-D801CAE9A306}"/>
              </a:ext>
            </a:extLst>
          </p:cNvPr>
          <p:cNvSpPr/>
          <p:nvPr/>
        </p:nvSpPr>
        <p:spPr>
          <a:xfrm rot="16200000">
            <a:off x="-287908" y="3793147"/>
            <a:ext cx="1043179" cy="159603"/>
          </a:xfrm>
          <a:prstGeom prst="roundRect">
            <a:avLst>
              <a:gd name="adj" fmla="val 9605"/>
            </a:avLst>
          </a:prstGeom>
          <a:solidFill>
            <a:schemeClr val="accent5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53"/>
              <a:t>Métier</a:t>
            </a:r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ADA085AA-EF52-47D3-BBE7-AF3967376C11}"/>
              </a:ext>
            </a:extLst>
          </p:cNvPr>
          <p:cNvSpPr/>
          <p:nvPr/>
        </p:nvSpPr>
        <p:spPr>
          <a:xfrm rot="16200000">
            <a:off x="-430560" y="5024001"/>
            <a:ext cx="1328480" cy="159602"/>
          </a:xfrm>
          <a:prstGeom prst="roundRect">
            <a:avLst>
              <a:gd name="adj" fmla="val 9605"/>
            </a:avLst>
          </a:prstGeom>
          <a:solidFill>
            <a:schemeClr val="accent5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53"/>
              <a:t>Technologique</a:t>
            </a:r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8FC8F2DC-881C-4EA9-8FD3-D7DECE2756F0}"/>
              </a:ext>
            </a:extLst>
          </p:cNvPr>
          <p:cNvSpPr/>
          <p:nvPr/>
        </p:nvSpPr>
        <p:spPr>
          <a:xfrm>
            <a:off x="213802" y="3399688"/>
            <a:ext cx="3127495" cy="975296"/>
          </a:xfrm>
          <a:prstGeom prst="roundRect">
            <a:avLst>
              <a:gd name="adj" fmla="val 9605"/>
            </a:avLst>
          </a:prstGeom>
          <a:noFill/>
          <a:ln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/>
          </a:p>
        </p:txBody>
      </p: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3ADA1786-99E1-4044-8471-F1FBEB6C7940}"/>
              </a:ext>
            </a:extLst>
          </p:cNvPr>
          <p:cNvSpPr/>
          <p:nvPr/>
        </p:nvSpPr>
        <p:spPr>
          <a:xfrm>
            <a:off x="213802" y="1383964"/>
            <a:ext cx="3127495" cy="1920004"/>
          </a:xfrm>
          <a:prstGeom prst="roundRect">
            <a:avLst>
              <a:gd name="adj" fmla="val 9605"/>
            </a:avLst>
          </a:prstGeom>
          <a:noFill/>
          <a:ln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/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E4EA6E65-830E-4EC6-8A08-9BCCD03CD805}"/>
              </a:ext>
            </a:extLst>
          </p:cNvPr>
          <p:cNvGrpSpPr/>
          <p:nvPr/>
        </p:nvGrpSpPr>
        <p:grpSpPr>
          <a:xfrm>
            <a:off x="1759845" y="1768513"/>
            <a:ext cx="1351220" cy="537786"/>
            <a:chOff x="7805737" y="357708"/>
            <a:chExt cx="2217386" cy="88252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24576FF-1E10-4B1B-B38F-E0D75BF1AAD0}"/>
                </a:ext>
              </a:extLst>
            </p:cNvPr>
            <p:cNvSpPr/>
            <p:nvPr/>
          </p:nvSpPr>
          <p:spPr>
            <a:xfrm>
              <a:off x="8243821" y="676835"/>
              <a:ext cx="1779302" cy="56339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853">
                  <a:solidFill>
                    <a:schemeClr val="accent3"/>
                  </a:solidFill>
                </a:rPr>
                <a:t>Transformation</a:t>
              </a:r>
            </a:p>
            <a:p>
              <a:pPr algn="ctr"/>
              <a:r>
                <a:rPr lang="fr-FR" sz="853">
                  <a:solidFill>
                    <a:schemeClr val="accent3"/>
                  </a:solidFill>
                </a:rPr>
                <a:t>Manager</a:t>
              </a:r>
            </a:p>
          </p:txBody>
        </p:sp>
        <p:pic>
          <p:nvPicPr>
            <p:cNvPr id="35" name="Graphique 34" descr="Programmeur">
              <a:extLst>
                <a:ext uri="{FF2B5EF4-FFF2-40B4-BE49-F238E27FC236}">
                  <a16:creationId xmlns:a16="http://schemas.microsoft.com/office/drawing/2014/main" id="{AC986618-19E0-44A8-9016-77EEE9BC4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05737" y="357708"/>
              <a:ext cx="720000" cy="720000"/>
            </a:xfrm>
            <a:prstGeom prst="rect">
              <a:avLst/>
            </a:prstGeom>
          </p:spPr>
        </p:pic>
        <p:sp>
          <p:nvSpPr>
            <p:cNvPr id="36" name="ZoneTexte 35">
              <a:extLst>
                <a:ext uri="{FF2B5EF4-FFF2-40B4-BE49-F238E27FC236}">
                  <a16:creationId xmlns:a16="http://schemas.microsoft.com/office/drawing/2014/main" id="{4D1DF4B9-ED88-40E3-98F2-4E246FB16007}"/>
                </a:ext>
              </a:extLst>
            </p:cNvPr>
            <p:cNvSpPr txBox="1"/>
            <p:nvPr/>
          </p:nvSpPr>
          <p:spPr>
            <a:xfrm>
              <a:off x="8007984" y="832794"/>
              <a:ext cx="311811" cy="169198"/>
            </a:xfrm>
            <a:prstGeom prst="rect">
              <a:avLst/>
            </a:prstGeom>
            <a:solidFill>
              <a:srgbClr val="222C4A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TM</a:t>
              </a:r>
            </a:p>
          </p:txBody>
        </p:sp>
      </p:grpSp>
      <p:pic>
        <p:nvPicPr>
          <p:cNvPr id="37" name="Graphique 30">
            <a:extLst>
              <a:ext uri="{FF2B5EF4-FFF2-40B4-BE49-F238E27FC236}">
                <a16:creationId xmlns:a16="http://schemas.microsoft.com/office/drawing/2014/main" id="{1E0EA6A7-29C2-4BD7-B894-B458767553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20539" y="1294555"/>
            <a:ext cx="1114425" cy="262910"/>
          </a:xfrm>
          <a:prstGeom prst="rect">
            <a:avLst/>
          </a:prstGeom>
        </p:spPr>
      </p:pic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4A4643D9-47E3-4CDB-80C5-BAF467B44D58}"/>
              </a:ext>
            </a:extLst>
          </p:cNvPr>
          <p:cNvSpPr/>
          <p:nvPr/>
        </p:nvSpPr>
        <p:spPr>
          <a:xfrm>
            <a:off x="362961" y="2803373"/>
            <a:ext cx="886672" cy="29616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 b="1">
                <a:solidFill>
                  <a:schemeClr val="accent4"/>
                </a:solidFill>
              </a:rPr>
              <a:t>SQUAD 1</a:t>
            </a:r>
          </a:p>
        </p:txBody>
      </p:sp>
      <p:sp>
        <p:nvSpPr>
          <p:cNvPr id="39" name="Rectangle : coins arrondis 38">
            <a:extLst>
              <a:ext uri="{FF2B5EF4-FFF2-40B4-BE49-F238E27FC236}">
                <a16:creationId xmlns:a16="http://schemas.microsoft.com/office/drawing/2014/main" id="{9C08F1CC-1DCF-4D74-A48B-4C3F7A6B87E7}"/>
              </a:ext>
            </a:extLst>
          </p:cNvPr>
          <p:cNvSpPr/>
          <p:nvPr/>
        </p:nvSpPr>
        <p:spPr>
          <a:xfrm>
            <a:off x="1352902" y="2787786"/>
            <a:ext cx="886672" cy="297728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 b="1">
                <a:solidFill>
                  <a:schemeClr val="accent2"/>
                </a:solidFill>
              </a:rPr>
              <a:t>SQUAD 2</a:t>
            </a:r>
          </a:p>
        </p:txBody>
      </p:sp>
      <p:sp>
        <p:nvSpPr>
          <p:cNvPr id="40" name="Rectangle : coins arrondis 39">
            <a:extLst>
              <a:ext uri="{FF2B5EF4-FFF2-40B4-BE49-F238E27FC236}">
                <a16:creationId xmlns:a16="http://schemas.microsoft.com/office/drawing/2014/main" id="{9DB412FE-5E43-461B-830B-2D23CD71D33F}"/>
              </a:ext>
            </a:extLst>
          </p:cNvPr>
          <p:cNvSpPr/>
          <p:nvPr/>
        </p:nvSpPr>
        <p:spPr>
          <a:xfrm>
            <a:off x="2404706" y="2804049"/>
            <a:ext cx="886672" cy="29708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 b="1">
                <a:solidFill>
                  <a:schemeClr val="accent1"/>
                </a:solidFill>
              </a:rPr>
              <a:t>SQUAD 3</a:t>
            </a:r>
          </a:p>
        </p:txBody>
      </p:sp>
      <p:pic>
        <p:nvPicPr>
          <p:cNvPr id="41" name="Graphique 40" descr="Programmeur">
            <a:extLst>
              <a:ext uri="{FF2B5EF4-FFF2-40B4-BE49-F238E27FC236}">
                <a16:creationId xmlns:a16="http://schemas.microsoft.com/office/drawing/2014/main" id="{2CA77F48-29F9-4400-90E2-6D6574C02C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6351" y="3892822"/>
            <a:ext cx="438750" cy="438750"/>
          </a:xfrm>
          <a:prstGeom prst="rect">
            <a:avLst/>
          </a:prstGeom>
        </p:spPr>
      </p:pic>
      <p:sp>
        <p:nvSpPr>
          <p:cNvPr id="42" name="ZoneTexte 41">
            <a:extLst>
              <a:ext uri="{FF2B5EF4-FFF2-40B4-BE49-F238E27FC236}">
                <a16:creationId xmlns:a16="http://schemas.microsoft.com/office/drawing/2014/main" id="{52821447-9567-4B7B-A28B-A995FCEF89B4}"/>
              </a:ext>
            </a:extLst>
          </p:cNvPr>
          <p:cNvSpPr txBox="1"/>
          <p:nvPr/>
        </p:nvSpPr>
        <p:spPr>
          <a:xfrm>
            <a:off x="469595" y="4182325"/>
            <a:ext cx="190010" cy="103105"/>
          </a:xfrm>
          <a:prstGeom prst="rect">
            <a:avLst/>
          </a:prstGeom>
          <a:solidFill>
            <a:srgbClr val="222C4A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accent4">
                    <a:lumMod val="20000"/>
                    <a:lumOff val="8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</a:t>
            </a:r>
          </a:p>
        </p:txBody>
      </p:sp>
      <p:pic>
        <p:nvPicPr>
          <p:cNvPr id="43" name="Graphique 42" descr="Programmeur">
            <a:extLst>
              <a:ext uri="{FF2B5EF4-FFF2-40B4-BE49-F238E27FC236}">
                <a16:creationId xmlns:a16="http://schemas.microsoft.com/office/drawing/2014/main" id="{C273A996-834C-4716-80D8-66BC546DA7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1710" y="3526927"/>
            <a:ext cx="438750" cy="438750"/>
          </a:xfrm>
          <a:prstGeom prst="rect">
            <a:avLst/>
          </a:prstGeom>
        </p:spPr>
      </p:pic>
      <p:sp>
        <p:nvSpPr>
          <p:cNvPr id="44" name="ZoneTexte 43">
            <a:extLst>
              <a:ext uri="{FF2B5EF4-FFF2-40B4-BE49-F238E27FC236}">
                <a16:creationId xmlns:a16="http://schemas.microsoft.com/office/drawing/2014/main" id="{EF1C1861-A232-4CC0-B972-B732E6CBA87F}"/>
              </a:ext>
            </a:extLst>
          </p:cNvPr>
          <p:cNvSpPr txBox="1"/>
          <p:nvPr/>
        </p:nvSpPr>
        <p:spPr>
          <a:xfrm>
            <a:off x="734953" y="3816431"/>
            <a:ext cx="190010" cy="103105"/>
          </a:xfrm>
          <a:prstGeom prst="rect">
            <a:avLst/>
          </a:prstGeom>
          <a:solidFill>
            <a:srgbClr val="222C4A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accent4">
                    <a:lumMod val="20000"/>
                    <a:lumOff val="8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P</a:t>
            </a:r>
          </a:p>
        </p:txBody>
      </p:sp>
      <p:pic>
        <p:nvPicPr>
          <p:cNvPr id="45" name="Graphique 44" descr="Programmeur">
            <a:extLst>
              <a:ext uri="{FF2B5EF4-FFF2-40B4-BE49-F238E27FC236}">
                <a16:creationId xmlns:a16="http://schemas.microsoft.com/office/drawing/2014/main" id="{D8DE5FA8-F51A-4EB3-87F9-8FCA257BAF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83175" y="3917223"/>
            <a:ext cx="438750" cy="438750"/>
          </a:xfrm>
          <a:prstGeom prst="rect">
            <a:avLst/>
          </a:prstGeom>
        </p:spPr>
      </p:pic>
      <p:sp>
        <p:nvSpPr>
          <p:cNvPr id="46" name="ZoneTexte 45">
            <a:extLst>
              <a:ext uri="{FF2B5EF4-FFF2-40B4-BE49-F238E27FC236}">
                <a16:creationId xmlns:a16="http://schemas.microsoft.com/office/drawing/2014/main" id="{DFA345D4-997D-48CD-B9DA-E2CE804665B6}"/>
              </a:ext>
            </a:extLst>
          </p:cNvPr>
          <p:cNvSpPr txBox="1"/>
          <p:nvPr/>
        </p:nvSpPr>
        <p:spPr>
          <a:xfrm>
            <a:off x="1506418" y="4206726"/>
            <a:ext cx="190010" cy="103105"/>
          </a:xfrm>
          <a:prstGeom prst="rect">
            <a:avLst/>
          </a:prstGeom>
          <a:solidFill>
            <a:srgbClr val="222C4A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accent4">
                    <a:lumMod val="20000"/>
                    <a:lumOff val="8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</a:t>
            </a:r>
          </a:p>
        </p:txBody>
      </p:sp>
      <p:pic>
        <p:nvPicPr>
          <p:cNvPr id="47" name="Graphique 46" descr="Programmeur">
            <a:extLst>
              <a:ext uri="{FF2B5EF4-FFF2-40B4-BE49-F238E27FC236}">
                <a16:creationId xmlns:a16="http://schemas.microsoft.com/office/drawing/2014/main" id="{698CFE3F-A232-4617-8B58-22F45E5287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40928" y="3550948"/>
            <a:ext cx="438750" cy="438750"/>
          </a:xfrm>
          <a:prstGeom prst="rect">
            <a:avLst/>
          </a:prstGeom>
        </p:spPr>
      </p:pic>
      <p:sp>
        <p:nvSpPr>
          <p:cNvPr id="48" name="ZoneTexte 47">
            <a:extLst>
              <a:ext uri="{FF2B5EF4-FFF2-40B4-BE49-F238E27FC236}">
                <a16:creationId xmlns:a16="http://schemas.microsoft.com/office/drawing/2014/main" id="{EC8AF13D-A498-4FF2-93A0-F17277444443}"/>
              </a:ext>
            </a:extLst>
          </p:cNvPr>
          <p:cNvSpPr txBox="1"/>
          <p:nvPr/>
        </p:nvSpPr>
        <p:spPr>
          <a:xfrm>
            <a:off x="1664172" y="3840452"/>
            <a:ext cx="190010" cy="103105"/>
          </a:xfrm>
          <a:prstGeom prst="rect">
            <a:avLst/>
          </a:prstGeom>
          <a:solidFill>
            <a:srgbClr val="222C4A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accent4">
                    <a:lumMod val="20000"/>
                    <a:lumOff val="8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P</a:t>
            </a:r>
          </a:p>
        </p:txBody>
      </p:sp>
      <p:pic>
        <p:nvPicPr>
          <p:cNvPr id="49" name="Graphique 48" descr="Programmeur">
            <a:extLst>
              <a:ext uri="{FF2B5EF4-FFF2-40B4-BE49-F238E27FC236}">
                <a16:creationId xmlns:a16="http://schemas.microsoft.com/office/drawing/2014/main" id="{3EA4DFE2-4EE4-45C4-83B2-2D2CB2EE7C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35455" y="3908917"/>
            <a:ext cx="438750" cy="438750"/>
          </a:xfrm>
          <a:prstGeom prst="rect">
            <a:avLst/>
          </a:prstGeom>
        </p:spPr>
      </p:pic>
      <p:sp>
        <p:nvSpPr>
          <p:cNvPr id="50" name="ZoneTexte 49">
            <a:extLst>
              <a:ext uri="{FF2B5EF4-FFF2-40B4-BE49-F238E27FC236}">
                <a16:creationId xmlns:a16="http://schemas.microsoft.com/office/drawing/2014/main" id="{919E8EDF-594E-4021-8F66-071689F87F7D}"/>
              </a:ext>
            </a:extLst>
          </p:cNvPr>
          <p:cNvSpPr txBox="1"/>
          <p:nvPr/>
        </p:nvSpPr>
        <p:spPr>
          <a:xfrm>
            <a:off x="2558699" y="4198420"/>
            <a:ext cx="190010" cy="103105"/>
          </a:xfrm>
          <a:prstGeom prst="rect">
            <a:avLst/>
          </a:prstGeom>
          <a:solidFill>
            <a:srgbClr val="222C4A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accent4">
                    <a:lumMod val="20000"/>
                    <a:lumOff val="8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</a:t>
            </a:r>
          </a:p>
        </p:txBody>
      </p:sp>
      <p:pic>
        <p:nvPicPr>
          <p:cNvPr id="51" name="Graphique 50" descr="Programmeur">
            <a:extLst>
              <a:ext uri="{FF2B5EF4-FFF2-40B4-BE49-F238E27FC236}">
                <a16:creationId xmlns:a16="http://schemas.microsoft.com/office/drawing/2014/main" id="{382ACCAC-3DF3-4125-AAE0-7885A57E77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26843" y="3526277"/>
            <a:ext cx="438750" cy="438750"/>
          </a:xfrm>
          <a:prstGeom prst="rect">
            <a:avLst/>
          </a:prstGeom>
        </p:spPr>
      </p:pic>
      <p:sp>
        <p:nvSpPr>
          <p:cNvPr id="52" name="ZoneTexte 51">
            <a:extLst>
              <a:ext uri="{FF2B5EF4-FFF2-40B4-BE49-F238E27FC236}">
                <a16:creationId xmlns:a16="http://schemas.microsoft.com/office/drawing/2014/main" id="{DAD2AB11-3933-411F-B40B-71ECC1F5A140}"/>
              </a:ext>
            </a:extLst>
          </p:cNvPr>
          <p:cNvSpPr txBox="1"/>
          <p:nvPr/>
        </p:nvSpPr>
        <p:spPr>
          <a:xfrm>
            <a:off x="2750087" y="3815781"/>
            <a:ext cx="190010" cy="103105"/>
          </a:xfrm>
          <a:prstGeom prst="rect">
            <a:avLst/>
          </a:prstGeom>
          <a:solidFill>
            <a:srgbClr val="222C4A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accent4">
                    <a:lumMod val="20000"/>
                    <a:lumOff val="8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P</a:t>
            </a:r>
          </a:p>
        </p:txBody>
      </p:sp>
      <p:pic>
        <p:nvPicPr>
          <p:cNvPr id="53" name="Graphique 52" descr="Programmeur">
            <a:extLst>
              <a:ext uri="{FF2B5EF4-FFF2-40B4-BE49-F238E27FC236}">
                <a16:creationId xmlns:a16="http://schemas.microsoft.com/office/drawing/2014/main" id="{81BF873B-E78C-4470-927E-F846EBF836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5087" y="3892822"/>
            <a:ext cx="438750" cy="438750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69A1D6E4-AC3D-4A65-9784-A5400E9B069F}"/>
              </a:ext>
            </a:extLst>
          </p:cNvPr>
          <p:cNvSpPr txBox="1"/>
          <p:nvPr/>
        </p:nvSpPr>
        <p:spPr>
          <a:xfrm>
            <a:off x="928331" y="4182325"/>
            <a:ext cx="190010" cy="103105"/>
          </a:xfrm>
          <a:prstGeom prst="rect">
            <a:avLst/>
          </a:prstGeom>
          <a:solidFill>
            <a:srgbClr val="222C4A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accent4">
                    <a:lumMod val="20000"/>
                    <a:lumOff val="8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</a:t>
            </a:r>
          </a:p>
        </p:txBody>
      </p:sp>
      <p:pic>
        <p:nvPicPr>
          <p:cNvPr id="55" name="Graphique 54" descr="Programmeur">
            <a:extLst>
              <a:ext uri="{FF2B5EF4-FFF2-40B4-BE49-F238E27FC236}">
                <a16:creationId xmlns:a16="http://schemas.microsoft.com/office/drawing/2014/main" id="{584CFA30-9CAA-408C-831B-8A8235191E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77832" y="3908917"/>
            <a:ext cx="438750" cy="438750"/>
          </a:xfrm>
          <a:prstGeom prst="rect">
            <a:avLst/>
          </a:prstGeom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0FA39700-541A-45B2-85A8-CF36DA129B73}"/>
              </a:ext>
            </a:extLst>
          </p:cNvPr>
          <p:cNvSpPr txBox="1"/>
          <p:nvPr/>
        </p:nvSpPr>
        <p:spPr>
          <a:xfrm>
            <a:off x="1901076" y="4198420"/>
            <a:ext cx="190010" cy="103105"/>
          </a:xfrm>
          <a:prstGeom prst="rect">
            <a:avLst/>
          </a:prstGeom>
          <a:solidFill>
            <a:srgbClr val="222C4A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accent4">
                    <a:lumMod val="20000"/>
                    <a:lumOff val="8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</a:t>
            </a:r>
          </a:p>
        </p:txBody>
      </p:sp>
      <p:pic>
        <p:nvPicPr>
          <p:cNvPr id="57" name="Graphique 56" descr="Programmeur">
            <a:extLst>
              <a:ext uri="{FF2B5EF4-FFF2-40B4-BE49-F238E27FC236}">
                <a16:creationId xmlns:a16="http://schemas.microsoft.com/office/drawing/2014/main" id="{88C761E5-E5BE-43F2-8A31-2EA45032F7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46218" y="3921997"/>
            <a:ext cx="438750" cy="438750"/>
          </a:xfrm>
          <a:prstGeom prst="rect">
            <a:avLst/>
          </a:prstGeom>
        </p:spPr>
      </p:pic>
      <p:sp>
        <p:nvSpPr>
          <p:cNvPr id="58" name="ZoneTexte 57">
            <a:extLst>
              <a:ext uri="{FF2B5EF4-FFF2-40B4-BE49-F238E27FC236}">
                <a16:creationId xmlns:a16="http://schemas.microsoft.com/office/drawing/2014/main" id="{AF8DD23F-D161-4857-A4FC-99CDAF913323}"/>
              </a:ext>
            </a:extLst>
          </p:cNvPr>
          <p:cNvSpPr txBox="1"/>
          <p:nvPr/>
        </p:nvSpPr>
        <p:spPr>
          <a:xfrm>
            <a:off x="2969462" y="4211500"/>
            <a:ext cx="190010" cy="103105"/>
          </a:xfrm>
          <a:prstGeom prst="rect">
            <a:avLst/>
          </a:prstGeom>
          <a:solidFill>
            <a:srgbClr val="222C4A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670">
                <a:solidFill>
                  <a:schemeClr val="accent4">
                    <a:lumMod val="20000"/>
                    <a:lumOff val="8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</a:t>
            </a:r>
          </a:p>
        </p:txBody>
      </p:sp>
      <p:grpSp>
        <p:nvGrpSpPr>
          <p:cNvPr id="59" name="Groupe 58">
            <a:extLst>
              <a:ext uri="{FF2B5EF4-FFF2-40B4-BE49-F238E27FC236}">
                <a16:creationId xmlns:a16="http://schemas.microsoft.com/office/drawing/2014/main" id="{B758EF1D-634E-4CE5-B2B4-3BC99CF5DB5C}"/>
              </a:ext>
            </a:extLst>
          </p:cNvPr>
          <p:cNvGrpSpPr/>
          <p:nvPr/>
        </p:nvGrpSpPr>
        <p:grpSpPr>
          <a:xfrm>
            <a:off x="330109" y="4616987"/>
            <a:ext cx="2992641" cy="472542"/>
            <a:chOff x="5918200" y="5641441"/>
            <a:chExt cx="4911000" cy="775454"/>
          </a:xfrm>
        </p:grpSpPr>
        <p:pic>
          <p:nvPicPr>
            <p:cNvPr id="60" name="Graphique 59" descr="Programmeur">
              <a:extLst>
                <a:ext uri="{FF2B5EF4-FFF2-40B4-BE49-F238E27FC236}">
                  <a16:creationId xmlns:a16="http://schemas.microsoft.com/office/drawing/2014/main" id="{7F9C0427-D65C-4812-8AD6-D0B5B2E2AC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918200" y="5641441"/>
              <a:ext cx="720000" cy="720000"/>
            </a:xfrm>
            <a:prstGeom prst="rect">
              <a:avLst/>
            </a:prstGeom>
          </p:spPr>
        </p:pic>
        <p:sp>
          <p:nvSpPr>
            <p:cNvPr id="61" name="ZoneTexte 60">
              <a:extLst>
                <a:ext uri="{FF2B5EF4-FFF2-40B4-BE49-F238E27FC236}">
                  <a16:creationId xmlns:a16="http://schemas.microsoft.com/office/drawing/2014/main" id="{92F0223E-C9DF-4FF2-8193-3ED886625153}"/>
                </a:ext>
              </a:extLst>
            </p:cNvPr>
            <p:cNvSpPr txBox="1"/>
            <p:nvPr/>
          </p:nvSpPr>
          <p:spPr>
            <a:xfrm>
              <a:off x="6120447" y="6116523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Dev</a:t>
              </a:r>
            </a:p>
          </p:txBody>
        </p:sp>
        <p:pic>
          <p:nvPicPr>
            <p:cNvPr id="62" name="Graphique 61" descr="Programmeur">
              <a:extLst>
                <a:ext uri="{FF2B5EF4-FFF2-40B4-BE49-F238E27FC236}">
                  <a16:creationId xmlns:a16="http://schemas.microsoft.com/office/drawing/2014/main" id="{5C078087-9DC4-4D51-861E-9B4DC80F7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60400" y="5680860"/>
              <a:ext cx="720000" cy="720000"/>
            </a:xfrm>
            <a:prstGeom prst="rect">
              <a:avLst/>
            </a:prstGeom>
          </p:spPr>
        </p:pic>
        <p:sp>
          <p:nvSpPr>
            <p:cNvPr id="63" name="ZoneTexte 62">
              <a:extLst>
                <a:ext uri="{FF2B5EF4-FFF2-40B4-BE49-F238E27FC236}">
                  <a16:creationId xmlns:a16="http://schemas.microsoft.com/office/drawing/2014/main" id="{927C5A0B-CC3F-45B9-AB72-E196AEA78D7D}"/>
                </a:ext>
              </a:extLst>
            </p:cNvPr>
            <p:cNvSpPr txBox="1"/>
            <p:nvPr/>
          </p:nvSpPr>
          <p:spPr>
            <a:xfrm>
              <a:off x="7762645" y="6155942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Dev</a:t>
              </a:r>
            </a:p>
          </p:txBody>
        </p:sp>
        <p:pic>
          <p:nvPicPr>
            <p:cNvPr id="64" name="Graphique 63" descr="Programmeur">
              <a:extLst>
                <a:ext uri="{FF2B5EF4-FFF2-40B4-BE49-F238E27FC236}">
                  <a16:creationId xmlns:a16="http://schemas.microsoft.com/office/drawing/2014/main" id="{8C751EA9-0D07-47F2-85A2-B9D9EFC48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223654" y="5680572"/>
              <a:ext cx="720000" cy="720000"/>
            </a:xfrm>
            <a:prstGeom prst="rect">
              <a:avLst/>
            </a:prstGeom>
          </p:spPr>
        </p:pic>
        <p:sp>
          <p:nvSpPr>
            <p:cNvPr id="65" name="ZoneTexte 64">
              <a:extLst>
                <a:ext uri="{FF2B5EF4-FFF2-40B4-BE49-F238E27FC236}">
                  <a16:creationId xmlns:a16="http://schemas.microsoft.com/office/drawing/2014/main" id="{622AB518-3EB2-4946-A46D-2045DCB0995B}"/>
                </a:ext>
              </a:extLst>
            </p:cNvPr>
            <p:cNvSpPr txBox="1"/>
            <p:nvPr/>
          </p:nvSpPr>
          <p:spPr>
            <a:xfrm>
              <a:off x="9425900" y="6155653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Dev</a:t>
              </a:r>
            </a:p>
          </p:txBody>
        </p:sp>
        <p:pic>
          <p:nvPicPr>
            <p:cNvPr id="66" name="Graphique 65" descr="Programmeur">
              <a:extLst>
                <a:ext uri="{FF2B5EF4-FFF2-40B4-BE49-F238E27FC236}">
                  <a16:creationId xmlns:a16="http://schemas.microsoft.com/office/drawing/2014/main" id="{DBB7389D-EFD4-4175-B332-F907AF4BF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375400" y="5667895"/>
              <a:ext cx="720000" cy="720000"/>
            </a:xfrm>
            <a:prstGeom prst="rect">
              <a:avLst/>
            </a:prstGeom>
          </p:spPr>
        </p:pic>
        <p:sp>
          <p:nvSpPr>
            <p:cNvPr id="67" name="ZoneTexte 66">
              <a:extLst>
                <a:ext uri="{FF2B5EF4-FFF2-40B4-BE49-F238E27FC236}">
                  <a16:creationId xmlns:a16="http://schemas.microsoft.com/office/drawing/2014/main" id="{BC5B2EAF-40C9-434F-B07E-F7DF4859E619}"/>
                </a:ext>
              </a:extLst>
            </p:cNvPr>
            <p:cNvSpPr txBox="1"/>
            <p:nvPr/>
          </p:nvSpPr>
          <p:spPr>
            <a:xfrm>
              <a:off x="6577646" y="6142976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Dev</a:t>
              </a:r>
            </a:p>
          </p:txBody>
        </p:sp>
        <p:pic>
          <p:nvPicPr>
            <p:cNvPr id="68" name="Graphique 67" descr="Programmeur">
              <a:extLst>
                <a:ext uri="{FF2B5EF4-FFF2-40B4-BE49-F238E27FC236}">
                  <a16:creationId xmlns:a16="http://schemas.microsoft.com/office/drawing/2014/main" id="{2F2078A1-60B7-4EA5-99B2-1D85DA72A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75600" y="5694065"/>
              <a:ext cx="720000" cy="720000"/>
            </a:xfrm>
            <a:prstGeom prst="rect">
              <a:avLst/>
            </a:prstGeom>
          </p:spPr>
        </p:pic>
        <p:sp>
          <p:nvSpPr>
            <p:cNvPr id="69" name="ZoneTexte 68">
              <a:extLst>
                <a:ext uri="{FF2B5EF4-FFF2-40B4-BE49-F238E27FC236}">
                  <a16:creationId xmlns:a16="http://schemas.microsoft.com/office/drawing/2014/main" id="{07A5B1BA-3497-4451-B1BD-D61E59CE086B}"/>
                </a:ext>
              </a:extLst>
            </p:cNvPr>
            <p:cNvSpPr txBox="1"/>
            <p:nvPr/>
          </p:nvSpPr>
          <p:spPr>
            <a:xfrm>
              <a:off x="8177846" y="6169146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Dev</a:t>
              </a:r>
            </a:p>
          </p:txBody>
        </p:sp>
        <p:pic>
          <p:nvPicPr>
            <p:cNvPr id="70" name="Graphique 69" descr="Programmeur">
              <a:extLst>
                <a:ext uri="{FF2B5EF4-FFF2-40B4-BE49-F238E27FC236}">
                  <a16:creationId xmlns:a16="http://schemas.microsoft.com/office/drawing/2014/main" id="{2F204B5A-1EE8-4461-AD4F-55D209E7EC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652000" y="5693777"/>
              <a:ext cx="720000" cy="720000"/>
            </a:xfrm>
            <a:prstGeom prst="rect">
              <a:avLst/>
            </a:prstGeom>
          </p:spPr>
        </p:pic>
        <p:sp>
          <p:nvSpPr>
            <p:cNvPr id="71" name="ZoneTexte 70">
              <a:extLst>
                <a:ext uri="{FF2B5EF4-FFF2-40B4-BE49-F238E27FC236}">
                  <a16:creationId xmlns:a16="http://schemas.microsoft.com/office/drawing/2014/main" id="{579A17A5-AF05-45A0-8278-AF865A5A26CB}"/>
                </a:ext>
              </a:extLst>
            </p:cNvPr>
            <p:cNvSpPr txBox="1"/>
            <p:nvPr/>
          </p:nvSpPr>
          <p:spPr>
            <a:xfrm>
              <a:off x="9854245" y="6168859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Dev</a:t>
              </a:r>
            </a:p>
          </p:txBody>
        </p:sp>
        <p:pic>
          <p:nvPicPr>
            <p:cNvPr id="72" name="Graphique 71" descr="Programmeur">
              <a:extLst>
                <a:ext uri="{FF2B5EF4-FFF2-40B4-BE49-F238E27FC236}">
                  <a16:creationId xmlns:a16="http://schemas.microsoft.com/office/drawing/2014/main" id="{1EE234C0-22B6-4D78-B77E-E1C068F091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109200" y="5681516"/>
              <a:ext cx="720000" cy="720000"/>
            </a:xfrm>
            <a:prstGeom prst="rect">
              <a:avLst/>
            </a:prstGeom>
          </p:spPr>
        </p:pic>
        <p:sp>
          <p:nvSpPr>
            <p:cNvPr id="73" name="ZoneTexte 72">
              <a:extLst>
                <a:ext uri="{FF2B5EF4-FFF2-40B4-BE49-F238E27FC236}">
                  <a16:creationId xmlns:a16="http://schemas.microsoft.com/office/drawing/2014/main" id="{380F8BCE-22DB-4B79-AAC7-79BE55CDCA74}"/>
                </a:ext>
              </a:extLst>
            </p:cNvPr>
            <p:cNvSpPr txBox="1"/>
            <p:nvPr/>
          </p:nvSpPr>
          <p:spPr>
            <a:xfrm>
              <a:off x="10311447" y="6156597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QA</a:t>
              </a:r>
            </a:p>
          </p:txBody>
        </p:sp>
        <p:pic>
          <p:nvPicPr>
            <p:cNvPr id="74" name="Graphique 73" descr="Programmeur">
              <a:extLst>
                <a:ext uri="{FF2B5EF4-FFF2-40B4-BE49-F238E27FC236}">
                  <a16:creationId xmlns:a16="http://schemas.microsoft.com/office/drawing/2014/main" id="{D66DFF86-4A52-450A-B6D1-C2CAC2231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474800" y="5696895"/>
              <a:ext cx="720000" cy="720000"/>
            </a:xfrm>
            <a:prstGeom prst="rect">
              <a:avLst/>
            </a:prstGeom>
          </p:spPr>
        </p:pic>
        <p:sp>
          <p:nvSpPr>
            <p:cNvPr id="75" name="ZoneTexte 74">
              <a:extLst>
                <a:ext uri="{FF2B5EF4-FFF2-40B4-BE49-F238E27FC236}">
                  <a16:creationId xmlns:a16="http://schemas.microsoft.com/office/drawing/2014/main" id="{85A5963D-3D48-4B39-A2A8-CFB56B68A315}"/>
                </a:ext>
              </a:extLst>
            </p:cNvPr>
            <p:cNvSpPr txBox="1"/>
            <p:nvPr/>
          </p:nvSpPr>
          <p:spPr>
            <a:xfrm>
              <a:off x="8677046" y="6171977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QA</a:t>
              </a:r>
            </a:p>
          </p:txBody>
        </p:sp>
        <p:pic>
          <p:nvPicPr>
            <p:cNvPr id="76" name="Graphique 75" descr="Programmeur">
              <a:extLst>
                <a:ext uri="{FF2B5EF4-FFF2-40B4-BE49-F238E27FC236}">
                  <a16:creationId xmlns:a16="http://schemas.microsoft.com/office/drawing/2014/main" id="{126FC4AB-2D32-4919-BEFE-619266F5F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48489" y="5656708"/>
              <a:ext cx="720000" cy="720000"/>
            </a:xfrm>
            <a:prstGeom prst="rect">
              <a:avLst/>
            </a:prstGeom>
          </p:spPr>
        </p:pic>
        <p:sp>
          <p:nvSpPr>
            <p:cNvPr id="77" name="ZoneTexte 76">
              <a:extLst>
                <a:ext uri="{FF2B5EF4-FFF2-40B4-BE49-F238E27FC236}">
                  <a16:creationId xmlns:a16="http://schemas.microsoft.com/office/drawing/2014/main" id="{E231137E-16A3-41D2-866A-E3E9A1CB5768}"/>
                </a:ext>
              </a:extLst>
            </p:cNvPr>
            <p:cNvSpPr txBox="1"/>
            <p:nvPr/>
          </p:nvSpPr>
          <p:spPr>
            <a:xfrm>
              <a:off x="7050736" y="6131790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QA</a:t>
              </a:r>
            </a:p>
          </p:txBody>
        </p:sp>
      </p:grp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75AD814A-976D-43B1-AB8A-9497570E9BD1}"/>
              </a:ext>
            </a:extLst>
          </p:cNvPr>
          <p:cNvSpPr/>
          <p:nvPr/>
        </p:nvSpPr>
        <p:spPr>
          <a:xfrm>
            <a:off x="407118" y="5190717"/>
            <a:ext cx="2884260" cy="574352"/>
          </a:xfrm>
          <a:prstGeom prst="roundRect">
            <a:avLst/>
          </a:prstGeom>
          <a:noFill/>
          <a:ln w="31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>
                <a:solidFill>
                  <a:schemeClr val="accent3"/>
                </a:solidFill>
              </a:rPr>
              <a:t>Equipe OPS dédiés aux CR Occitanie</a:t>
            </a:r>
          </a:p>
        </p:txBody>
      </p:sp>
      <p:grpSp>
        <p:nvGrpSpPr>
          <p:cNvPr id="79" name="Groupe 78">
            <a:extLst>
              <a:ext uri="{FF2B5EF4-FFF2-40B4-BE49-F238E27FC236}">
                <a16:creationId xmlns:a16="http://schemas.microsoft.com/office/drawing/2014/main" id="{2682A29B-3CB6-41DF-B5CC-57009DDF93BF}"/>
              </a:ext>
            </a:extLst>
          </p:cNvPr>
          <p:cNvGrpSpPr/>
          <p:nvPr/>
        </p:nvGrpSpPr>
        <p:grpSpPr>
          <a:xfrm>
            <a:off x="613560" y="5285220"/>
            <a:ext cx="2366257" cy="449881"/>
            <a:chOff x="6362375" y="6803714"/>
            <a:chExt cx="3883089" cy="738266"/>
          </a:xfrm>
        </p:grpSpPr>
        <p:pic>
          <p:nvPicPr>
            <p:cNvPr id="80" name="Graphique 79" descr="Programmeur">
              <a:extLst>
                <a:ext uri="{FF2B5EF4-FFF2-40B4-BE49-F238E27FC236}">
                  <a16:creationId xmlns:a16="http://schemas.microsoft.com/office/drawing/2014/main" id="{C7BAB602-636B-4A6D-A845-6B3BBCE61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362375" y="6803714"/>
              <a:ext cx="720000" cy="720000"/>
            </a:xfrm>
            <a:prstGeom prst="rect">
              <a:avLst/>
            </a:prstGeom>
          </p:spPr>
        </p:pic>
        <p:sp>
          <p:nvSpPr>
            <p:cNvPr id="81" name="ZoneTexte 80">
              <a:extLst>
                <a:ext uri="{FF2B5EF4-FFF2-40B4-BE49-F238E27FC236}">
                  <a16:creationId xmlns:a16="http://schemas.microsoft.com/office/drawing/2014/main" id="{09631511-3196-4C89-9319-31F865870C75}"/>
                </a:ext>
              </a:extLst>
            </p:cNvPr>
            <p:cNvSpPr txBox="1"/>
            <p:nvPr/>
          </p:nvSpPr>
          <p:spPr>
            <a:xfrm>
              <a:off x="6564622" y="7278796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Ops</a:t>
              </a:r>
            </a:p>
          </p:txBody>
        </p:sp>
        <p:pic>
          <p:nvPicPr>
            <p:cNvPr id="82" name="Graphique 81" descr="Programmeur">
              <a:extLst>
                <a:ext uri="{FF2B5EF4-FFF2-40B4-BE49-F238E27FC236}">
                  <a16:creationId xmlns:a16="http://schemas.microsoft.com/office/drawing/2014/main" id="{3F35582E-CD4D-48B6-A6D5-2547CCC7FD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912192" y="6821980"/>
              <a:ext cx="720000" cy="720000"/>
            </a:xfrm>
            <a:prstGeom prst="rect">
              <a:avLst/>
            </a:prstGeom>
          </p:spPr>
        </p:pic>
        <p:sp>
          <p:nvSpPr>
            <p:cNvPr id="83" name="ZoneTexte 82">
              <a:extLst>
                <a:ext uri="{FF2B5EF4-FFF2-40B4-BE49-F238E27FC236}">
                  <a16:creationId xmlns:a16="http://schemas.microsoft.com/office/drawing/2014/main" id="{6F1CF929-636D-4A2B-B74D-0AF77573D5E7}"/>
                </a:ext>
              </a:extLst>
            </p:cNvPr>
            <p:cNvSpPr txBox="1"/>
            <p:nvPr/>
          </p:nvSpPr>
          <p:spPr>
            <a:xfrm>
              <a:off x="8114438" y="7297062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Ops</a:t>
              </a:r>
            </a:p>
          </p:txBody>
        </p:sp>
        <p:pic>
          <p:nvPicPr>
            <p:cNvPr id="84" name="Graphique 83" descr="Programmeur">
              <a:extLst>
                <a:ext uri="{FF2B5EF4-FFF2-40B4-BE49-F238E27FC236}">
                  <a16:creationId xmlns:a16="http://schemas.microsoft.com/office/drawing/2014/main" id="{E17DDA1D-15E4-4ACC-933C-B8FA0BA17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525464" y="6809041"/>
              <a:ext cx="720000" cy="720000"/>
            </a:xfrm>
            <a:prstGeom prst="rect">
              <a:avLst/>
            </a:prstGeom>
          </p:spPr>
        </p:pic>
        <p:sp>
          <p:nvSpPr>
            <p:cNvPr id="85" name="ZoneTexte 84">
              <a:extLst>
                <a:ext uri="{FF2B5EF4-FFF2-40B4-BE49-F238E27FC236}">
                  <a16:creationId xmlns:a16="http://schemas.microsoft.com/office/drawing/2014/main" id="{69F9E13C-4AB1-48CB-A1B0-60D143C08C15}"/>
                </a:ext>
              </a:extLst>
            </p:cNvPr>
            <p:cNvSpPr txBox="1"/>
            <p:nvPr/>
          </p:nvSpPr>
          <p:spPr>
            <a:xfrm>
              <a:off x="9727710" y="7284122"/>
              <a:ext cx="311811" cy="1691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Ops</a:t>
              </a:r>
            </a:p>
          </p:txBody>
        </p:sp>
      </p:grpSp>
      <p:sp>
        <p:nvSpPr>
          <p:cNvPr id="86" name="Rectangle : coins arrondis 85">
            <a:extLst>
              <a:ext uri="{FF2B5EF4-FFF2-40B4-BE49-F238E27FC236}">
                <a16:creationId xmlns:a16="http://schemas.microsoft.com/office/drawing/2014/main" id="{92C535ED-2C0E-4B7C-9018-041D5CBEAA28}"/>
              </a:ext>
            </a:extLst>
          </p:cNvPr>
          <p:cNvSpPr/>
          <p:nvPr/>
        </p:nvSpPr>
        <p:spPr>
          <a:xfrm>
            <a:off x="400159" y="4501311"/>
            <a:ext cx="2877734" cy="574352"/>
          </a:xfrm>
          <a:prstGeom prst="roundRect">
            <a:avLst/>
          </a:prstGeom>
          <a:noFill/>
          <a:ln w="31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>
                <a:solidFill>
                  <a:schemeClr val="accent3"/>
                </a:solidFill>
              </a:rPr>
              <a:t>Equipe DEV dédiés aux CR Occitanie</a:t>
            </a:r>
          </a:p>
        </p:txBody>
      </p:sp>
      <p:grpSp>
        <p:nvGrpSpPr>
          <p:cNvPr id="87" name="Groupe 86">
            <a:extLst>
              <a:ext uri="{FF2B5EF4-FFF2-40B4-BE49-F238E27FC236}">
                <a16:creationId xmlns:a16="http://schemas.microsoft.com/office/drawing/2014/main" id="{5B56EE92-F1A5-44A3-A1C3-4ABB5B344A4D}"/>
              </a:ext>
            </a:extLst>
          </p:cNvPr>
          <p:cNvGrpSpPr/>
          <p:nvPr/>
        </p:nvGrpSpPr>
        <p:grpSpPr>
          <a:xfrm>
            <a:off x="439492" y="3102935"/>
            <a:ext cx="2844382" cy="474420"/>
            <a:chOff x="6103073" y="3013800"/>
            <a:chExt cx="4667704" cy="778536"/>
          </a:xfrm>
        </p:grpSpPr>
        <p:sp>
          <p:nvSpPr>
            <p:cNvPr id="88" name="Rectangle : coins arrondis 87">
              <a:extLst>
                <a:ext uri="{FF2B5EF4-FFF2-40B4-BE49-F238E27FC236}">
                  <a16:creationId xmlns:a16="http://schemas.microsoft.com/office/drawing/2014/main" id="{77084568-B34F-43C6-803F-CFA2675F595F}"/>
                </a:ext>
              </a:extLst>
            </p:cNvPr>
            <p:cNvSpPr/>
            <p:nvPr/>
          </p:nvSpPr>
          <p:spPr>
            <a:xfrm>
              <a:off x="6103073" y="3062973"/>
              <a:ext cx="4667704" cy="729363"/>
            </a:xfrm>
            <a:prstGeom prst="roundRect">
              <a:avLst/>
            </a:prstGeom>
            <a:noFill/>
            <a:ln w="3175"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fr-FR" sz="853">
                  <a:solidFill>
                    <a:schemeClr val="accent3"/>
                  </a:solidFill>
                </a:rPr>
                <a:t>Référents              Services</a:t>
              </a:r>
            </a:p>
          </p:txBody>
        </p:sp>
        <p:sp>
          <p:nvSpPr>
            <p:cNvPr id="89" name="ZoneTexte 88">
              <a:extLst>
                <a:ext uri="{FF2B5EF4-FFF2-40B4-BE49-F238E27FC236}">
                  <a16:creationId xmlns:a16="http://schemas.microsoft.com/office/drawing/2014/main" id="{A2093DEC-DFB5-42F6-8FC0-806146D37379}"/>
                </a:ext>
              </a:extLst>
            </p:cNvPr>
            <p:cNvSpPr txBox="1"/>
            <p:nvPr/>
          </p:nvSpPr>
          <p:spPr>
            <a:xfrm>
              <a:off x="6660241" y="3528584"/>
              <a:ext cx="311811" cy="187199"/>
            </a:xfrm>
            <a:prstGeom prst="flowChartAlternateProcess">
              <a:avLst/>
            </a:prstGeom>
            <a:solidFill>
              <a:srgbClr val="222C4A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RS</a:t>
              </a:r>
            </a:p>
          </p:txBody>
        </p:sp>
        <p:sp>
          <p:nvSpPr>
            <p:cNvPr id="90" name="ZoneTexte 89">
              <a:extLst>
                <a:ext uri="{FF2B5EF4-FFF2-40B4-BE49-F238E27FC236}">
                  <a16:creationId xmlns:a16="http://schemas.microsoft.com/office/drawing/2014/main" id="{0048244F-EBF9-46BC-8254-55288AD2500C}"/>
                </a:ext>
              </a:extLst>
            </p:cNvPr>
            <p:cNvSpPr txBox="1"/>
            <p:nvPr/>
          </p:nvSpPr>
          <p:spPr>
            <a:xfrm>
              <a:off x="9856107" y="3504715"/>
              <a:ext cx="311811" cy="169198"/>
            </a:xfrm>
            <a:prstGeom prst="rect">
              <a:avLst/>
            </a:prstGeom>
            <a:solidFill>
              <a:srgbClr val="222C4A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RS</a:t>
              </a:r>
            </a:p>
          </p:txBody>
        </p:sp>
        <p:sp>
          <p:nvSpPr>
            <p:cNvPr id="91" name="ZoneTexte 90">
              <a:extLst>
                <a:ext uri="{FF2B5EF4-FFF2-40B4-BE49-F238E27FC236}">
                  <a16:creationId xmlns:a16="http://schemas.microsoft.com/office/drawing/2014/main" id="{EF7C071A-3C0C-4C12-AC25-217BBCD38E8C}"/>
                </a:ext>
              </a:extLst>
            </p:cNvPr>
            <p:cNvSpPr txBox="1"/>
            <p:nvPr/>
          </p:nvSpPr>
          <p:spPr>
            <a:xfrm>
              <a:off x="8226874" y="3520833"/>
              <a:ext cx="311811" cy="169198"/>
            </a:xfrm>
            <a:prstGeom prst="rect">
              <a:avLst/>
            </a:prstGeom>
            <a:solidFill>
              <a:srgbClr val="222C4A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RS</a:t>
              </a:r>
            </a:p>
          </p:txBody>
        </p:sp>
        <p:pic>
          <p:nvPicPr>
            <p:cNvPr id="92" name="Graphique 91" descr="Programmeur">
              <a:extLst>
                <a:ext uri="{FF2B5EF4-FFF2-40B4-BE49-F238E27FC236}">
                  <a16:creationId xmlns:a16="http://schemas.microsoft.com/office/drawing/2014/main" id="{D81C0F5F-AA25-45C7-9898-619F787E5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57995" y="3048000"/>
              <a:ext cx="720000" cy="720000"/>
            </a:xfrm>
            <a:prstGeom prst="flowChartAlternateProcess">
              <a:avLst/>
            </a:prstGeom>
          </p:spPr>
        </p:pic>
        <p:pic>
          <p:nvPicPr>
            <p:cNvPr id="93" name="Graphique 92" descr="Programmeur">
              <a:extLst>
                <a:ext uri="{FF2B5EF4-FFF2-40B4-BE49-F238E27FC236}">
                  <a16:creationId xmlns:a16="http://schemas.microsoft.com/office/drawing/2014/main" id="{532A06EF-F44A-4972-9D1D-EF6DD7F05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653861" y="3029632"/>
              <a:ext cx="720000" cy="720000"/>
            </a:xfrm>
            <a:prstGeom prst="rect">
              <a:avLst/>
            </a:prstGeom>
          </p:spPr>
        </p:pic>
        <p:pic>
          <p:nvPicPr>
            <p:cNvPr id="94" name="Graphique 93" descr="Programmeur">
              <a:extLst>
                <a:ext uri="{FF2B5EF4-FFF2-40B4-BE49-F238E27FC236}">
                  <a16:creationId xmlns:a16="http://schemas.microsoft.com/office/drawing/2014/main" id="{D07F6706-245B-473B-BEA9-36A8E608E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24627" y="3013800"/>
              <a:ext cx="720000" cy="720000"/>
            </a:xfrm>
            <a:prstGeom prst="rect">
              <a:avLst/>
            </a:prstGeom>
          </p:spPr>
        </p:pic>
        <p:sp>
          <p:nvSpPr>
            <p:cNvPr id="95" name="ZoneTexte 94">
              <a:extLst>
                <a:ext uri="{FF2B5EF4-FFF2-40B4-BE49-F238E27FC236}">
                  <a16:creationId xmlns:a16="http://schemas.microsoft.com/office/drawing/2014/main" id="{E308277C-137E-491A-84A6-36183770A9BC}"/>
                </a:ext>
              </a:extLst>
            </p:cNvPr>
            <p:cNvSpPr txBox="1"/>
            <p:nvPr/>
          </p:nvSpPr>
          <p:spPr>
            <a:xfrm>
              <a:off x="6676439" y="3526465"/>
              <a:ext cx="296292" cy="16919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accent4">
                      <a:lumMod val="20000"/>
                      <a:lumOff val="80000"/>
                    </a:schemeClr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RS</a:t>
              </a:r>
            </a:p>
          </p:txBody>
        </p:sp>
        <p:sp>
          <p:nvSpPr>
            <p:cNvPr id="96" name="ZoneTexte 95">
              <a:extLst>
                <a:ext uri="{FF2B5EF4-FFF2-40B4-BE49-F238E27FC236}">
                  <a16:creationId xmlns:a16="http://schemas.microsoft.com/office/drawing/2014/main" id="{D45D3268-48BC-4EE1-AAD7-BA0896E1429B}"/>
                </a:ext>
              </a:extLst>
            </p:cNvPr>
            <p:cNvSpPr txBox="1"/>
            <p:nvPr/>
          </p:nvSpPr>
          <p:spPr>
            <a:xfrm>
              <a:off x="8236717" y="3500602"/>
              <a:ext cx="296292" cy="16919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accent4">
                      <a:lumMod val="20000"/>
                      <a:lumOff val="80000"/>
                    </a:schemeClr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RS</a:t>
              </a:r>
            </a:p>
          </p:txBody>
        </p:sp>
        <p:sp>
          <p:nvSpPr>
            <p:cNvPr id="97" name="ZoneTexte 96">
              <a:extLst>
                <a:ext uri="{FF2B5EF4-FFF2-40B4-BE49-F238E27FC236}">
                  <a16:creationId xmlns:a16="http://schemas.microsoft.com/office/drawing/2014/main" id="{2D85C153-7A05-4A82-93EF-D8D0A5A7A514}"/>
                </a:ext>
              </a:extLst>
            </p:cNvPr>
            <p:cNvSpPr txBox="1"/>
            <p:nvPr/>
          </p:nvSpPr>
          <p:spPr>
            <a:xfrm>
              <a:off x="9871626" y="3500601"/>
              <a:ext cx="296292" cy="16919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fr-FR" sz="670">
                  <a:solidFill>
                    <a:schemeClr val="accent4">
                      <a:lumMod val="20000"/>
                      <a:lumOff val="80000"/>
                    </a:schemeClr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RS</a:t>
              </a:r>
            </a:p>
          </p:txBody>
        </p:sp>
      </p:grpSp>
      <p:sp>
        <p:nvSpPr>
          <p:cNvPr id="98" name="Rectangle 97">
            <a:extLst>
              <a:ext uri="{FF2B5EF4-FFF2-40B4-BE49-F238E27FC236}">
                <a16:creationId xmlns:a16="http://schemas.microsoft.com/office/drawing/2014/main" id="{31A3F2B4-A9A8-4362-917F-7B548A4BEF6B}"/>
              </a:ext>
            </a:extLst>
          </p:cNvPr>
          <p:cNvSpPr/>
          <p:nvPr/>
        </p:nvSpPr>
        <p:spPr>
          <a:xfrm>
            <a:off x="3491291" y="1290683"/>
            <a:ext cx="6141945" cy="4724826"/>
          </a:xfrm>
          <a:prstGeom prst="rect">
            <a:avLst/>
          </a:prstGeom>
          <a:solidFill>
            <a:schemeClr val="accent3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>
              <a:solidFill>
                <a:schemeClr val="accent3"/>
              </a:solidFill>
            </a:endParaRPr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E80FB3DF-57E3-4FDE-A65B-D88DD257ACE8}"/>
              </a:ext>
            </a:extLst>
          </p:cNvPr>
          <p:cNvSpPr/>
          <p:nvPr/>
        </p:nvSpPr>
        <p:spPr>
          <a:xfrm>
            <a:off x="3561061" y="2342680"/>
            <a:ext cx="1804383" cy="35615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 b="1">
                <a:solidFill>
                  <a:schemeClr val="accent4"/>
                </a:solidFill>
              </a:rPr>
              <a:t>SQUAD 1</a:t>
            </a:r>
          </a:p>
        </p:txBody>
      </p:sp>
      <p:sp>
        <p:nvSpPr>
          <p:cNvPr id="100" name="Rectangle : coins arrondis 99">
            <a:extLst>
              <a:ext uri="{FF2B5EF4-FFF2-40B4-BE49-F238E27FC236}">
                <a16:creationId xmlns:a16="http://schemas.microsoft.com/office/drawing/2014/main" id="{3A24C9C9-0672-4724-9978-B14D4F9D6FD4}"/>
              </a:ext>
            </a:extLst>
          </p:cNvPr>
          <p:cNvSpPr/>
          <p:nvPr/>
        </p:nvSpPr>
        <p:spPr>
          <a:xfrm>
            <a:off x="5446992" y="2342680"/>
            <a:ext cx="1927475" cy="35615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 b="1">
                <a:solidFill>
                  <a:srgbClr val="FF0000"/>
                </a:solidFill>
              </a:rPr>
              <a:t>SQUAD 2</a:t>
            </a:r>
          </a:p>
        </p:txBody>
      </p:sp>
      <p:sp>
        <p:nvSpPr>
          <p:cNvPr id="101" name="Rectangle : coins arrondis 100">
            <a:extLst>
              <a:ext uri="{FF2B5EF4-FFF2-40B4-BE49-F238E27FC236}">
                <a16:creationId xmlns:a16="http://schemas.microsoft.com/office/drawing/2014/main" id="{EE742D38-920B-4AFA-A963-DB0B9A06AAE1}"/>
              </a:ext>
            </a:extLst>
          </p:cNvPr>
          <p:cNvSpPr/>
          <p:nvPr/>
        </p:nvSpPr>
        <p:spPr>
          <a:xfrm>
            <a:off x="7434280" y="2342680"/>
            <a:ext cx="2071940" cy="3561501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 b="1">
                <a:solidFill>
                  <a:schemeClr val="accent1"/>
                </a:solidFill>
              </a:rPr>
              <a:t>SQUAD 3</a:t>
            </a:r>
          </a:p>
        </p:txBody>
      </p:sp>
      <p:graphicFrame>
        <p:nvGraphicFramePr>
          <p:cNvPr id="102" name="Tableau 101">
            <a:extLst>
              <a:ext uri="{FF2B5EF4-FFF2-40B4-BE49-F238E27FC236}">
                <a16:creationId xmlns:a16="http://schemas.microsoft.com/office/drawing/2014/main" id="{70551676-9528-4529-BFEA-078437F3EE88}"/>
              </a:ext>
            </a:extLst>
          </p:cNvPr>
          <p:cNvGraphicFramePr>
            <a:graphicFrameLocks noGrp="1"/>
          </p:cNvGraphicFramePr>
          <p:nvPr/>
        </p:nvGraphicFramePr>
        <p:xfrm>
          <a:off x="4408387" y="1337676"/>
          <a:ext cx="4198259" cy="931668"/>
        </p:xfrm>
        <a:graphic>
          <a:graphicData uri="http://schemas.openxmlformats.org/drawingml/2006/table">
            <a:tbl>
              <a:tblPr firstRow="1" firstCol="1" bandRow="1"/>
              <a:tblGrid>
                <a:gridCol w="2165215">
                  <a:extLst>
                    <a:ext uri="{9D8B030D-6E8A-4147-A177-3AD203B41FA5}">
                      <a16:colId xmlns:a16="http://schemas.microsoft.com/office/drawing/2014/main" val="2548818419"/>
                    </a:ext>
                  </a:extLst>
                </a:gridCol>
                <a:gridCol w="2033044">
                  <a:extLst>
                    <a:ext uri="{9D8B030D-6E8A-4147-A177-3AD203B41FA5}">
                      <a16:colId xmlns:a16="http://schemas.microsoft.com/office/drawing/2014/main" val="952854297"/>
                    </a:ext>
                  </a:extLst>
                </a:gridCol>
              </a:tblGrid>
              <a:tr h="155278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Gouvernance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5459111"/>
                  </a:ext>
                </a:extLst>
              </a:tr>
              <a:tr h="1552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Directeur de projet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Arnaud DEMARQUE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0847227"/>
                  </a:ext>
                </a:extLst>
              </a:tr>
              <a:tr h="15527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irectrice de projet Adjointe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nne LEOBON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646855"/>
                  </a:ext>
                </a:extLst>
              </a:tr>
              <a:tr h="1552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Transition et Transformation Manager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</a:rPr>
                        <a:t>Claire PASTICIER</a:t>
                      </a:r>
                      <a:endParaRPr lang="fr-FR" sz="700" b="1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399295"/>
                  </a:ext>
                </a:extLst>
              </a:tr>
              <a:tr h="1552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Correspondant Sécurité Projet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</a:rPr>
                        <a:t>Fabrice DUCHEMIN</a:t>
                      </a:r>
                      <a:endParaRPr lang="fr-FR" sz="700" b="1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414218"/>
                  </a:ext>
                </a:extLst>
              </a:tr>
              <a:tr h="1552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Responsable qualité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tx2"/>
                          </a:solidFill>
                          <a:effectLst/>
                        </a:rPr>
                        <a:t>Alban TEXIER / </a:t>
                      </a: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</a:rPr>
                        <a:t>David CORRADINO</a:t>
                      </a:r>
                      <a:endParaRPr lang="fr-FR" sz="700" b="1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050585"/>
                  </a:ext>
                </a:extLst>
              </a:tr>
            </a:tbl>
          </a:graphicData>
        </a:graphic>
      </p:graphicFrame>
      <p:graphicFrame>
        <p:nvGraphicFramePr>
          <p:cNvPr id="103" name="Tableau 102">
            <a:extLst>
              <a:ext uri="{FF2B5EF4-FFF2-40B4-BE49-F238E27FC236}">
                <a16:creationId xmlns:a16="http://schemas.microsoft.com/office/drawing/2014/main" id="{2A8E4EEF-6929-4F94-BB81-3138329A0004}"/>
              </a:ext>
            </a:extLst>
          </p:cNvPr>
          <p:cNvGraphicFramePr>
            <a:graphicFrameLocks noGrp="1"/>
          </p:cNvGraphicFramePr>
          <p:nvPr/>
        </p:nvGraphicFramePr>
        <p:xfrm>
          <a:off x="3614209" y="2662483"/>
          <a:ext cx="3648128" cy="304332"/>
        </p:xfrm>
        <a:graphic>
          <a:graphicData uri="http://schemas.openxmlformats.org/drawingml/2006/table">
            <a:tbl>
              <a:tblPr firstRow="1" firstCol="1" bandRow="1"/>
              <a:tblGrid>
                <a:gridCol w="2070886">
                  <a:extLst>
                    <a:ext uri="{9D8B030D-6E8A-4147-A177-3AD203B41FA5}">
                      <a16:colId xmlns:a16="http://schemas.microsoft.com/office/drawing/2014/main" val="3487073064"/>
                    </a:ext>
                  </a:extLst>
                </a:gridCol>
                <a:gridCol w="1577242">
                  <a:extLst>
                    <a:ext uri="{9D8B030D-6E8A-4147-A177-3AD203B41FA5}">
                      <a16:colId xmlns:a16="http://schemas.microsoft.com/office/drawing/2014/main" val="2490924588"/>
                    </a:ext>
                  </a:extLst>
                </a:gridCol>
              </a:tblGrid>
              <a:tr h="116913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Référents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250484"/>
                  </a:ext>
                </a:extLst>
              </a:tr>
              <a:tr h="1874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Référent Service Squad #1 et #2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Nadège RENARD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755840"/>
                  </a:ext>
                </a:extLst>
              </a:tr>
            </a:tbl>
          </a:graphicData>
        </a:graphic>
      </p:graphicFrame>
      <p:graphicFrame>
        <p:nvGraphicFramePr>
          <p:cNvPr id="104" name="Tableau 103">
            <a:extLst>
              <a:ext uri="{FF2B5EF4-FFF2-40B4-BE49-F238E27FC236}">
                <a16:creationId xmlns:a16="http://schemas.microsoft.com/office/drawing/2014/main" id="{6D6F3CDD-C5E6-4CAD-9281-DBE78376A986}"/>
              </a:ext>
            </a:extLst>
          </p:cNvPr>
          <p:cNvGraphicFramePr>
            <a:graphicFrameLocks noGrp="1"/>
          </p:cNvGraphicFramePr>
          <p:nvPr/>
        </p:nvGraphicFramePr>
        <p:xfrm>
          <a:off x="5485204" y="3044665"/>
          <a:ext cx="1826228" cy="269488"/>
        </p:xfrm>
        <a:graphic>
          <a:graphicData uri="http://schemas.openxmlformats.org/drawingml/2006/table">
            <a:tbl>
              <a:tblPr firstRow="1" firstCol="1" bandRow="1"/>
              <a:tblGrid>
                <a:gridCol w="813957">
                  <a:extLst>
                    <a:ext uri="{9D8B030D-6E8A-4147-A177-3AD203B41FA5}">
                      <a16:colId xmlns:a16="http://schemas.microsoft.com/office/drawing/2014/main" val="2062967321"/>
                    </a:ext>
                  </a:extLst>
                </a:gridCol>
                <a:gridCol w="1012271">
                  <a:extLst>
                    <a:ext uri="{9D8B030D-6E8A-4147-A177-3AD203B41FA5}">
                      <a16:colId xmlns:a16="http://schemas.microsoft.com/office/drawing/2014/main" val="3714697830"/>
                    </a:ext>
                  </a:extLst>
                </a:gridCol>
              </a:tblGrid>
              <a:tr h="13474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Squad 2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8683372"/>
                  </a:ext>
                </a:extLst>
              </a:tr>
              <a:tr h="1347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CP Squad #2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</a:rPr>
                        <a:t>Yoann JULIEN</a:t>
                      </a:r>
                      <a:endParaRPr lang="fr-FR" sz="700" b="1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648911"/>
                  </a:ext>
                </a:extLst>
              </a:tr>
            </a:tbl>
          </a:graphicData>
        </a:graphic>
      </p:graphicFrame>
      <p:graphicFrame>
        <p:nvGraphicFramePr>
          <p:cNvPr id="105" name="Tableau 104">
            <a:extLst>
              <a:ext uri="{FF2B5EF4-FFF2-40B4-BE49-F238E27FC236}">
                <a16:creationId xmlns:a16="http://schemas.microsoft.com/office/drawing/2014/main" id="{1ADC016E-2B00-4F95-8BD8-F754FD5B5A1F}"/>
              </a:ext>
            </a:extLst>
          </p:cNvPr>
          <p:cNvGraphicFramePr>
            <a:graphicFrameLocks noGrp="1"/>
          </p:cNvGraphicFramePr>
          <p:nvPr/>
        </p:nvGraphicFramePr>
        <p:xfrm>
          <a:off x="3614209" y="3049818"/>
          <a:ext cx="1681121" cy="270528"/>
        </p:xfrm>
        <a:graphic>
          <a:graphicData uri="http://schemas.openxmlformats.org/drawingml/2006/table">
            <a:tbl>
              <a:tblPr firstRow="1" firstCol="1" bandRow="1"/>
              <a:tblGrid>
                <a:gridCol w="813957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  <a:gridCol w="867164">
                  <a:extLst>
                    <a:ext uri="{9D8B030D-6E8A-4147-A177-3AD203B41FA5}">
                      <a16:colId xmlns:a16="http://schemas.microsoft.com/office/drawing/2014/main" val="1259340613"/>
                    </a:ext>
                  </a:extLst>
                </a:gridCol>
              </a:tblGrid>
              <a:tr h="13526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Squad 1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352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CP Squad #1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Hélène DURY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685550"/>
                  </a:ext>
                </a:extLst>
              </a:tr>
            </a:tbl>
          </a:graphicData>
        </a:graphic>
      </p:graphicFrame>
      <p:graphicFrame>
        <p:nvGraphicFramePr>
          <p:cNvPr id="106" name="Tableau 105">
            <a:extLst>
              <a:ext uri="{FF2B5EF4-FFF2-40B4-BE49-F238E27FC236}">
                <a16:creationId xmlns:a16="http://schemas.microsoft.com/office/drawing/2014/main" id="{3C0DBD1E-6ACB-41B8-8DE6-C7DA94AF17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382123"/>
              </p:ext>
            </p:extLst>
          </p:nvPr>
        </p:nvGraphicFramePr>
        <p:xfrm>
          <a:off x="7478651" y="3044463"/>
          <a:ext cx="1967465" cy="363515"/>
        </p:xfrm>
        <a:graphic>
          <a:graphicData uri="http://schemas.openxmlformats.org/drawingml/2006/table">
            <a:tbl>
              <a:tblPr firstRow="1" firstCol="1" bandRow="1"/>
              <a:tblGrid>
                <a:gridCol w="1240762">
                  <a:extLst>
                    <a:ext uri="{9D8B030D-6E8A-4147-A177-3AD203B41FA5}">
                      <a16:colId xmlns:a16="http://schemas.microsoft.com/office/drawing/2014/main" val="1724952614"/>
                    </a:ext>
                  </a:extLst>
                </a:gridCol>
                <a:gridCol w="726703">
                  <a:extLst>
                    <a:ext uri="{9D8B030D-6E8A-4147-A177-3AD203B41FA5}">
                      <a16:colId xmlns:a16="http://schemas.microsoft.com/office/drawing/2014/main" val="2081346894"/>
                    </a:ext>
                  </a:extLst>
                </a:gridCol>
              </a:tblGrid>
              <a:tr h="15015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 dirty="0">
                          <a:effectLst/>
                        </a:rPr>
                        <a:t>Squad 3</a:t>
                      </a:r>
                      <a:endParaRPr lang="fr-FR" sz="700" b="1" dirty="0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9187056"/>
                  </a:ext>
                </a:extLst>
              </a:tr>
              <a:tr h="1348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 dirty="0">
                          <a:effectLst/>
                        </a:rPr>
                        <a:t>CP Squad #3</a:t>
                      </a:r>
                      <a:endParaRPr lang="fr-FR" sz="700" b="1" dirty="0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 dirty="0">
                          <a:effectLst/>
                        </a:rPr>
                        <a:t>Samuel GRANDBARBE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673111"/>
                  </a:ext>
                </a:extLst>
              </a:tr>
            </a:tbl>
          </a:graphicData>
        </a:graphic>
      </p:graphicFrame>
      <p:graphicFrame>
        <p:nvGraphicFramePr>
          <p:cNvPr id="107" name="Tableau 106">
            <a:extLst>
              <a:ext uri="{FF2B5EF4-FFF2-40B4-BE49-F238E27FC236}">
                <a16:creationId xmlns:a16="http://schemas.microsoft.com/office/drawing/2014/main" id="{B2F048CF-784A-4BA3-B6A2-14041225CC06}"/>
              </a:ext>
            </a:extLst>
          </p:cNvPr>
          <p:cNvGraphicFramePr>
            <a:graphicFrameLocks noGrp="1"/>
          </p:cNvGraphicFramePr>
          <p:nvPr/>
        </p:nvGraphicFramePr>
        <p:xfrm>
          <a:off x="4554770" y="5029221"/>
          <a:ext cx="3887515" cy="780101"/>
        </p:xfrm>
        <a:graphic>
          <a:graphicData uri="http://schemas.openxmlformats.org/drawingml/2006/table">
            <a:tbl>
              <a:tblPr firstRow="1" firstCol="1" bandRow="1"/>
              <a:tblGrid>
                <a:gridCol w="2409795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  <a:gridCol w="1477720">
                  <a:extLst>
                    <a:ext uri="{9D8B030D-6E8A-4147-A177-3AD203B41FA5}">
                      <a16:colId xmlns:a16="http://schemas.microsoft.com/office/drawing/2014/main" val="1259340613"/>
                    </a:ext>
                  </a:extLst>
                </a:gridCol>
              </a:tblGrid>
              <a:tr h="111443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Equipe OPS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114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</a:rPr>
                        <a:t>Administrateur OPS</a:t>
                      </a:r>
                      <a:endParaRPr lang="fr-FR" sz="700" b="1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hilippe VITE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888834"/>
                  </a:ext>
                </a:extLst>
              </a:tr>
              <a:tr h="1114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dministrateur OPS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Mikael RICHARDSON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154849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dministrateur OPS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l-NL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Frédéric BALLAND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3064841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dministrateur OPS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it-IT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William DE CASTELLANE</a:t>
                      </a:r>
                      <a:endParaRPr lang="fr-FR" sz="700" b="1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475452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dministrateur OPS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teve KERHARO</a:t>
                      </a:r>
                      <a:endParaRPr lang="fr-FR" sz="700" b="1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9983166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dministrateur OPS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it-IT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Nicolas COLLETTE</a:t>
                      </a:r>
                      <a:endParaRPr lang="fr-FR" sz="700" b="1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931693"/>
                  </a:ext>
                </a:extLst>
              </a:tr>
            </a:tbl>
          </a:graphicData>
        </a:graphic>
      </p:graphicFrame>
      <p:graphicFrame>
        <p:nvGraphicFramePr>
          <p:cNvPr id="108" name="Tableau 107">
            <a:extLst>
              <a:ext uri="{FF2B5EF4-FFF2-40B4-BE49-F238E27FC236}">
                <a16:creationId xmlns:a16="http://schemas.microsoft.com/office/drawing/2014/main" id="{F30CF731-0C46-416E-9B61-5046153C6A41}"/>
              </a:ext>
            </a:extLst>
          </p:cNvPr>
          <p:cNvGraphicFramePr>
            <a:graphicFrameLocks noGrp="1"/>
          </p:cNvGraphicFramePr>
          <p:nvPr/>
        </p:nvGraphicFramePr>
        <p:xfrm>
          <a:off x="4554770" y="4402189"/>
          <a:ext cx="3887515" cy="593029"/>
        </p:xfrm>
        <a:graphic>
          <a:graphicData uri="http://schemas.openxmlformats.org/drawingml/2006/table">
            <a:tbl>
              <a:tblPr firstRow="1" firstCol="1" bandRow="1"/>
              <a:tblGrid>
                <a:gridCol w="2409795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  <a:gridCol w="1477720">
                  <a:extLst>
                    <a:ext uri="{9D8B030D-6E8A-4147-A177-3AD203B41FA5}">
                      <a16:colId xmlns:a16="http://schemas.microsoft.com/office/drawing/2014/main" val="1259340613"/>
                    </a:ext>
                  </a:extLst>
                </a:gridCol>
              </a:tblGrid>
              <a:tr h="115793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Equipe Transverse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42907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</a:rPr>
                        <a:t>Développeur (Talend)</a:t>
                      </a:r>
                      <a:endParaRPr lang="fr-FR" sz="700" b="1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érémie</a:t>
                      </a:r>
                      <a:r>
                        <a:rPr lang="fr-FR" sz="700" b="1">
                          <a:effectLst/>
                        </a:rPr>
                        <a:t> PRANGERE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7822058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</a:rPr>
                        <a:t>Développeur (JIRA)</a:t>
                      </a:r>
                      <a:endParaRPr lang="fr-FR" sz="700" b="1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naud DARIDAN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0872740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err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LeadTech</a:t>
                      </a: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DEV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ébastien LE-FUSTEC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97947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evOps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hammed MEHDAOUI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6921647"/>
                  </a:ext>
                </a:extLst>
              </a:tr>
            </a:tbl>
          </a:graphicData>
        </a:graphic>
      </p:graphicFrame>
      <p:graphicFrame>
        <p:nvGraphicFramePr>
          <p:cNvPr id="109" name="Tableau 108">
            <a:extLst>
              <a:ext uri="{FF2B5EF4-FFF2-40B4-BE49-F238E27FC236}">
                <a16:creationId xmlns:a16="http://schemas.microsoft.com/office/drawing/2014/main" id="{30AABC1D-9A57-4831-8E31-764FB00DF070}"/>
              </a:ext>
            </a:extLst>
          </p:cNvPr>
          <p:cNvGraphicFramePr>
            <a:graphicFrameLocks noGrp="1"/>
          </p:cNvGraphicFramePr>
          <p:nvPr/>
        </p:nvGraphicFramePr>
        <p:xfrm>
          <a:off x="3619072" y="3404775"/>
          <a:ext cx="1674447" cy="507240"/>
        </p:xfrm>
        <a:graphic>
          <a:graphicData uri="http://schemas.openxmlformats.org/drawingml/2006/table">
            <a:tbl>
              <a:tblPr firstRow="1" firstCol="1" bandRow="1"/>
              <a:tblGrid>
                <a:gridCol w="477308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  <a:gridCol w="1197139">
                  <a:extLst>
                    <a:ext uri="{9D8B030D-6E8A-4147-A177-3AD203B41FA5}">
                      <a16:colId xmlns:a16="http://schemas.microsoft.com/office/drawing/2014/main" val="1259340613"/>
                    </a:ext>
                  </a:extLst>
                </a:gridCol>
              </a:tblGrid>
              <a:tr h="12681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Equipe SUPPORT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26810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upport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il BERRADA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888834"/>
                  </a:ext>
                </a:extLst>
              </a:tr>
              <a:tr h="1268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upport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an-Claude BERNEDE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154849"/>
                  </a:ext>
                </a:extLst>
              </a:tr>
              <a:tr h="126810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upport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Ylana</a:t>
                      </a:r>
                      <a:r>
                        <a:rPr lang="fr-FR" sz="700" b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LEFEBVRE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91069"/>
                  </a:ext>
                </a:extLst>
              </a:tr>
            </a:tbl>
          </a:graphicData>
        </a:graphic>
      </p:graphicFrame>
      <p:graphicFrame>
        <p:nvGraphicFramePr>
          <p:cNvPr id="110" name="Tableau 109">
            <a:extLst>
              <a:ext uri="{FF2B5EF4-FFF2-40B4-BE49-F238E27FC236}">
                <a16:creationId xmlns:a16="http://schemas.microsoft.com/office/drawing/2014/main" id="{3783BA42-56C6-49CD-8B5C-14919789A6EB}"/>
              </a:ext>
            </a:extLst>
          </p:cNvPr>
          <p:cNvGraphicFramePr>
            <a:graphicFrameLocks noGrp="1"/>
          </p:cNvGraphicFramePr>
          <p:nvPr/>
        </p:nvGraphicFramePr>
        <p:xfrm>
          <a:off x="5485204" y="3402886"/>
          <a:ext cx="1826228" cy="380430"/>
        </p:xfrm>
        <a:graphic>
          <a:graphicData uri="http://schemas.openxmlformats.org/drawingml/2006/table">
            <a:tbl>
              <a:tblPr firstRow="1" firstCol="1" bandRow="1"/>
              <a:tblGrid>
                <a:gridCol w="455886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  <a:gridCol w="1370342">
                  <a:extLst>
                    <a:ext uri="{9D8B030D-6E8A-4147-A177-3AD203B41FA5}">
                      <a16:colId xmlns:a16="http://schemas.microsoft.com/office/drawing/2014/main" val="1259340613"/>
                    </a:ext>
                  </a:extLst>
                </a:gridCol>
              </a:tblGrid>
              <a:tr h="12681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Equipe SUPPORT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26810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upport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effectLst/>
                        </a:rPr>
                        <a:t>Benjamin CHAPUT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888834"/>
                  </a:ext>
                </a:extLst>
              </a:tr>
              <a:tr h="126810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upport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rgbClr val="222C4A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Rami-</a:t>
                      </a:r>
                      <a:r>
                        <a:rPr lang="fr-FR" sz="700" b="1" err="1">
                          <a:solidFill>
                            <a:srgbClr val="222C4A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Roauf</a:t>
                      </a:r>
                      <a:r>
                        <a:rPr lang="fr-FR" sz="700" b="1">
                          <a:solidFill>
                            <a:srgbClr val="222C4A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BENBEKHMA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726797"/>
                  </a:ext>
                </a:extLst>
              </a:tr>
            </a:tbl>
          </a:graphicData>
        </a:graphic>
      </p:graphicFrame>
      <p:graphicFrame>
        <p:nvGraphicFramePr>
          <p:cNvPr id="111" name="Tableau 110">
            <a:extLst>
              <a:ext uri="{FF2B5EF4-FFF2-40B4-BE49-F238E27FC236}">
                <a16:creationId xmlns:a16="http://schemas.microsoft.com/office/drawing/2014/main" id="{528AA3FC-D651-4E28-AAD4-2D53C5921A81}"/>
              </a:ext>
            </a:extLst>
          </p:cNvPr>
          <p:cNvGraphicFramePr>
            <a:graphicFrameLocks noGrp="1"/>
          </p:cNvGraphicFramePr>
          <p:nvPr/>
        </p:nvGraphicFramePr>
        <p:xfrm>
          <a:off x="7475836" y="3404264"/>
          <a:ext cx="1967467" cy="380430"/>
        </p:xfrm>
        <a:graphic>
          <a:graphicData uri="http://schemas.openxmlformats.org/drawingml/2006/table">
            <a:tbl>
              <a:tblPr firstRow="1" firstCol="1" bandRow="1"/>
              <a:tblGrid>
                <a:gridCol w="613312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  <a:gridCol w="1354155">
                  <a:extLst>
                    <a:ext uri="{9D8B030D-6E8A-4147-A177-3AD203B41FA5}">
                      <a16:colId xmlns:a16="http://schemas.microsoft.com/office/drawing/2014/main" val="1259340613"/>
                    </a:ext>
                  </a:extLst>
                </a:gridCol>
              </a:tblGrid>
              <a:tr h="12681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Equipe SUPPORT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26810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upport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erigne DIADHIOU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888834"/>
                  </a:ext>
                </a:extLst>
              </a:tr>
              <a:tr h="1268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fr-FR" sz="700" b="1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700" b="1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154849"/>
                  </a:ext>
                </a:extLst>
              </a:tr>
            </a:tbl>
          </a:graphicData>
        </a:graphic>
      </p:graphicFrame>
      <p:graphicFrame>
        <p:nvGraphicFramePr>
          <p:cNvPr id="112" name="Tableau 111">
            <a:extLst>
              <a:ext uri="{FF2B5EF4-FFF2-40B4-BE49-F238E27FC236}">
                <a16:creationId xmlns:a16="http://schemas.microsoft.com/office/drawing/2014/main" id="{897A76E7-E4D4-4260-886D-F094399548C2}"/>
              </a:ext>
            </a:extLst>
          </p:cNvPr>
          <p:cNvGraphicFramePr>
            <a:graphicFrameLocks noGrp="1"/>
          </p:cNvGraphicFramePr>
          <p:nvPr/>
        </p:nvGraphicFramePr>
        <p:xfrm>
          <a:off x="7635671" y="2660052"/>
          <a:ext cx="1678218" cy="305492"/>
        </p:xfrm>
        <a:graphic>
          <a:graphicData uri="http://schemas.openxmlformats.org/drawingml/2006/table">
            <a:tbl>
              <a:tblPr firstRow="1" firstCol="1" bandRow="1"/>
              <a:tblGrid>
                <a:gridCol w="930043">
                  <a:extLst>
                    <a:ext uri="{9D8B030D-6E8A-4147-A177-3AD203B41FA5}">
                      <a16:colId xmlns:a16="http://schemas.microsoft.com/office/drawing/2014/main" val="3487073064"/>
                    </a:ext>
                  </a:extLst>
                </a:gridCol>
                <a:gridCol w="748175">
                  <a:extLst>
                    <a:ext uri="{9D8B030D-6E8A-4147-A177-3AD203B41FA5}">
                      <a16:colId xmlns:a16="http://schemas.microsoft.com/office/drawing/2014/main" val="2490924588"/>
                    </a:ext>
                  </a:extLst>
                </a:gridCol>
              </a:tblGrid>
              <a:tr h="148017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Référents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250484"/>
                  </a:ext>
                </a:extLst>
              </a:tr>
              <a:tr h="1574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Référent Service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22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Alain HELIAS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936353"/>
                  </a:ext>
                </a:extLst>
              </a:tr>
            </a:tbl>
          </a:graphicData>
        </a:graphic>
      </p:graphicFrame>
      <p:graphicFrame>
        <p:nvGraphicFramePr>
          <p:cNvPr id="113" name="Tableau 112">
            <a:extLst>
              <a:ext uri="{FF2B5EF4-FFF2-40B4-BE49-F238E27FC236}">
                <a16:creationId xmlns:a16="http://schemas.microsoft.com/office/drawing/2014/main" id="{BCBAFC0F-D202-476A-B304-645A46E258B2}"/>
              </a:ext>
            </a:extLst>
          </p:cNvPr>
          <p:cNvGraphicFramePr>
            <a:graphicFrameLocks noGrp="1"/>
          </p:cNvGraphicFramePr>
          <p:nvPr/>
        </p:nvGraphicFramePr>
        <p:xfrm>
          <a:off x="5487457" y="3854835"/>
          <a:ext cx="1846544" cy="463172"/>
        </p:xfrm>
        <a:graphic>
          <a:graphicData uri="http://schemas.openxmlformats.org/drawingml/2006/table">
            <a:tbl>
              <a:tblPr firstRow="1" firstCol="1" bandRow="1"/>
              <a:tblGrid>
                <a:gridCol w="781067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  <a:gridCol w="1065477">
                  <a:extLst>
                    <a:ext uri="{9D8B030D-6E8A-4147-A177-3AD203B41FA5}">
                      <a16:colId xmlns:a16="http://schemas.microsoft.com/office/drawing/2014/main" val="1259340613"/>
                    </a:ext>
                  </a:extLst>
                </a:gridCol>
              </a:tblGrid>
              <a:tr h="115793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Equipe DEV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157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</a:rPr>
                        <a:t>Développeur</a:t>
                      </a:r>
                      <a:endParaRPr lang="fr-FR" sz="700" b="1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Mohamed LACHKAR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683791"/>
                  </a:ext>
                </a:extLst>
              </a:tr>
              <a:tr h="115793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IG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Mamady SAMASSA 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3921475"/>
                  </a:ext>
                </a:extLst>
              </a:tr>
              <a:tr h="115793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éveloppeur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Hamza LOUNISSI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0986723"/>
                  </a:ext>
                </a:extLst>
              </a:tr>
            </a:tbl>
          </a:graphicData>
        </a:graphic>
      </p:graphicFrame>
      <p:graphicFrame>
        <p:nvGraphicFramePr>
          <p:cNvPr id="114" name="Tableau 113">
            <a:extLst>
              <a:ext uri="{FF2B5EF4-FFF2-40B4-BE49-F238E27FC236}">
                <a16:creationId xmlns:a16="http://schemas.microsoft.com/office/drawing/2014/main" id="{699580F2-B7E0-4388-A79B-5F0B435EA672}"/>
              </a:ext>
            </a:extLst>
          </p:cNvPr>
          <p:cNvGraphicFramePr>
            <a:graphicFrameLocks noGrp="1"/>
          </p:cNvGraphicFramePr>
          <p:nvPr/>
        </p:nvGraphicFramePr>
        <p:xfrm>
          <a:off x="7475836" y="3852969"/>
          <a:ext cx="1967466" cy="506392"/>
        </p:xfrm>
        <a:graphic>
          <a:graphicData uri="http://schemas.openxmlformats.org/drawingml/2006/table">
            <a:tbl>
              <a:tblPr firstRow="1" firstCol="1" bandRow="1"/>
              <a:tblGrid>
                <a:gridCol w="818120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  <a:gridCol w="1149346">
                  <a:extLst>
                    <a:ext uri="{9D8B030D-6E8A-4147-A177-3AD203B41FA5}">
                      <a16:colId xmlns:a16="http://schemas.microsoft.com/office/drawing/2014/main" val="1259340613"/>
                    </a:ext>
                  </a:extLst>
                </a:gridCol>
              </a:tblGrid>
              <a:tr h="131869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Equipe DEV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éveloppeur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nass MASAOUDI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954671"/>
                  </a:ext>
                </a:extLst>
              </a:tr>
              <a:tr h="151637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éveloppeur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Laurent NAVARRO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641524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Testeur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Mickael DE CONINCK</a:t>
                      </a:r>
                    </a:p>
                  </a:txBody>
                  <a:tcPr marL="15673" marR="15673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3129977"/>
                  </a:ext>
                </a:extLst>
              </a:tr>
            </a:tbl>
          </a:graphicData>
        </a:graphic>
      </p:graphicFrame>
      <p:graphicFrame>
        <p:nvGraphicFramePr>
          <p:cNvPr id="116" name="Tableau 115">
            <a:extLst>
              <a:ext uri="{FF2B5EF4-FFF2-40B4-BE49-F238E27FC236}">
                <a16:creationId xmlns:a16="http://schemas.microsoft.com/office/drawing/2014/main" id="{9A9651A3-A921-4744-8329-CF23F1548FEF}"/>
              </a:ext>
            </a:extLst>
          </p:cNvPr>
          <p:cNvGraphicFramePr>
            <a:graphicFrameLocks noGrp="1"/>
          </p:cNvGraphicFramePr>
          <p:nvPr/>
        </p:nvGraphicFramePr>
        <p:xfrm>
          <a:off x="8657216" y="1450822"/>
          <a:ext cx="899834" cy="354755"/>
        </p:xfrm>
        <a:graphic>
          <a:graphicData uri="http://schemas.openxmlformats.org/drawingml/2006/table">
            <a:tbl>
              <a:tblPr firstRow="1" firstCol="1" bandRow="1"/>
              <a:tblGrid>
                <a:gridCol w="899834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</a:tblGrid>
              <a:tr h="1318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Formation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Talend ESB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6580821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BIRT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887013"/>
                  </a:ext>
                </a:extLst>
              </a:tr>
            </a:tbl>
          </a:graphicData>
        </a:graphic>
      </p:graphicFrame>
      <p:graphicFrame>
        <p:nvGraphicFramePr>
          <p:cNvPr id="118" name="Tableau 117">
            <a:extLst>
              <a:ext uri="{FF2B5EF4-FFF2-40B4-BE49-F238E27FC236}">
                <a16:creationId xmlns:a16="http://schemas.microsoft.com/office/drawing/2014/main" id="{7DDBC204-F1FD-4919-9B6D-CE32B13C1F85}"/>
              </a:ext>
            </a:extLst>
          </p:cNvPr>
          <p:cNvGraphicFramePr>
            <a:graphicFrameLocks noGrp="1"/>
          </p:cNvGraphicFramePr>
          <p:nvPr/>
        </p:nvGraphicFramePr>
        <p:xfrm>
          <a:off x="8657216" y="1880748"/>
          <a:ext cx="899834" cy="354755"/>
        </p:xfrm>
        <a:graphic>
          <a:graphicData uri="http://schemas.openxmlformats.org/drawingml/2006/table">
            <a:tbl>
              <a:tblPr firstRow="1" firstCol="1" bandRow="1"/>
              <a:tblGrid>
                <a:gridCol w="899834">
                  <a:extLst>
                    <a:ext uri="{9D8B030D-6E8A-4147-A177-3AD203B41FA5}">
                      <a16:colId xmlns:a16="http://schemas.microsoft.com/office/drawing/2014/main" val="2435640529"/>
                    </a:ext>
                  </a:extLst>
                </a:gridCol>
              </a:tblGrid>
              <a:tr h="1318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>
                          <a:effectLst/>
                        </a:rPr>
                        <a:t>Besoins</a:t>
                      </a:r>
                      <a:endParaRPr lang="fr-FR" sz="700" b="1">
                        <a:solidFill>
                          <a:srgbClr val="222C4A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331834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CARL</a:t>
                      </a: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53403"/>
                  </a:ext>
                </a:extLst>
              </a:tr>
              <a:tr h="111443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FR" sz="700" b="1" err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lanisware</a:t>
                      </a:r>
                      <a:endParaRPr lang="fr-FR" sz="700" b="1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5673" marR="15673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43649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58969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B2855BDF-8243-4DBC-A7D3-EA5A006D8127}"/>
              </a:ext>
            </a:extLst>
          </p:cNvPr>
          <p:cNvSpPr/>
          <p:nvPr/>
        </p:nvSpPr>
        <p:spPr>
          <a:xfrm>
            <a:off x="8051837" y="850805"/>
            <a:ext cx="1577558" cy="661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/>
          </a:p>
        </p:txBody>
      </p:sp>
      <p:graphicFrame>
        <p:nvGraphicFramePr>
          <p:cNvPr id="15" name="Tableau 15">
            <a:extLst>
              <a:ext uri="{FF2B5EF4-FFF2-40B4-BE49-F238E27FC236}">
                <a16:creationId xmlns:a16="http://schemas.microsoft.com/office/drawing/2014/main" id="{D264D1DA-9948-4F4D-AB74-7515FAB39C81}"/>
              </a:ext>
            </a:extLst>
          </p:cNvPr>
          <p:cNvGraphicFramePr>
            <a:graphicFrameLocks noGrp="1"/>
          </p:cNvGraphicFramePr>
          <p:nvPr/>
        </p:nvGraphicFramePr>
        <p:xfrm>
          <a:off x="276605" y="5220487"/>
          <a:ext cx="3307897" cy="78009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96518">
                  <a:extLst>
                    <a:ext uri="{9D8B030D-6E8A-4147-A177-3AD203B41FA5}">
                      <a16:colId xmlns:a16="http://schemas.microsoft.com/office/drawing/2014/main" val="825006382"/>
                    </a:ext>
                  </a:extLst>
                </a:gridCol>
                <a:gridCol w="594800">
                  <a:extLst>
                    <a:ext uri="{9D8B030D-6E8A-4147-A177-3AD203B41FA5}">
                      <a16:colId xmlns:a16="http://schemas.microsoft.com/office/drawing/2014/main" val="1227531710"/>
                    </a:ext>
                  </a:extLst>
                </a:gridCol>
                <a:gridCol w="681038">
                  <a:extLst>
                    <a:ext uri="{9D8B030D-6E8A-4147-A177-3AD203B41FA5}">
                      <a16:colId xmlns:a16="http://schemas.microsoft.com/office/drawing/2014/main" val="1022031456"/>
                    </a:ext>
                  </a:extLst>
                </a:gridCol>
                <a:gridCol w="778328">
                  <a:extLst>
                    <a:ext uri="{9D8B030D-6E8A-4147-A177-3AD203B41FA5}">
                      <a16:colId xmlns:a16="http://schemas.microsoft.com/office/drawing/2014/main" val="761509983"/>
                    </a:ext>
                  </a:extLst>
                </a:gridCol>
                <a:gridCol w="557213">
                  <a:extLst>
                    <a:ext uri="{9D8B030D-6E8A-4147-A177-3AD203B41FA5}">
                      <a16:colId xmlns:a16="http://schemas.microsoft.com/office/drawing/2014/main" val="3848739980"/>
                    </a:ext>
                  </a:extLst>
                </a:gridCol>
              </a:tblGrid>
              <a:tr h="278606">
                <a:tc>
                  <a:txBody>
                    <a:bodyPr/>
                    <a:lstStyle/>
                    <a:p>
                      <a:r>
                        <a:rPr lang="fr-FR" sz="700"/>
                        <a:t>Typologie </a:t>
                      </a:r>
                    </a:p>
                    <a:p>
                      <a:r>
                        <a:rPr lang="fr-FR" sz="700"/>
                        <a:t>Applicative</a:t>
                      </a:r>
                    </a:p>
                  </a:txBody>
                  <a:tcPr marL="55721" marR="55721" marT="27861" marB="27861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/>
                        <a:t>Simple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/>
                        <a:t>Moyen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/>
                        <a:t>Complexe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/>
                        <a:t>Total</a:t>
                      </a:r>
                    </a:p>
                  </a:txBody>
                  <a:tcPr marL="55721" marR="55721" marT="27861" marB="27861"/>
                </a:tc>
                <a:extLst>
                  <a:ext uri="{0D108BD9-81ED-4DB2-BD59-A6C34878D82A}">
                    <a16:rowId xmlns:a16="http://schemas.microsoft.com/office/drawing/2014/main" val="3600048102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r>
                        <a:rPr lang="fr-FR" sz="700" b="1"/>
                        <a:t>Spécifique</a:t>
                      </a:r>
                    </a:p>
                  </a:txBody>
                  <a:tcPr marL="55721" marR="55721" marT="27861" marB="27861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99146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r>
                        <a:rPr lang="fr-FR" sz="700" b="1"/>
                        <a:t>Progiciel</a:t>
                      </a:r>
                    </a:p>
                  </a:txBody>
                  <a:tcPr marL="55721" marR="55721" marT="27861" marB="27861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963142"/>
                  </a:ext>
                </a:extLst>
              </a:tr>
              <a:tr h="167164">
                <a:tc>
                  <a:txBody>
                    <a:bodyPr/>
                    <a:lstStyle/>
                    <a:p>
                      <a:r>
                        <a:rPr lang="fr-FR" sz="700" b="1"/>
                        <a:t>Total</a:t>
                      </a:r>
                    </a:p>
                  </a:txBody>
                  <a:tcPr marL="55721" marR="55721" marT="27861" marB="27861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970102"/>
                  </a:ext>
                </a:extLst>
              </a:tr>
            </a:tbl>
          </a:graphicData>
        </a:graphic>
      </p:graphicFrame>
      <p:sp>
        <p:nvSpPr>
          <p:cNvPr id="17" name="Rectangle : coins arrondis 16" descr="Conseil d’administration avec un remplissage uni">
            <a:extLst>
              <a:ext uri="{FF2B5EF4-FFF2-40B4-BE49-F238E27FC236}">
                <a16:creationId xmlns:a16="http://schemas.microsoft.com/office/drawing/2014/main" id="{B97DC998-5DF1-4EDB-B4F8-8D16D48555EA}"/>
              </a:ext>
            </a:extLst>
          </p:cNvPr>
          <p:cNvSpPr/>
          <p:nvPr/>
        </p:nvSpPr>
        <p:spPr>
          <a:xfrm>
            <a:off x="276605" y="3473108"/>
            <a:ext cx="753331" cy="387655"/>
          </a:xfrm>
          <a:prstGeom prst="roundRect">
            <a:avLst>
              <a:gd name="adj" fmla="val 10000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l="22134" t="-11666" r="22134" b="-11666"/>
            </a:stretch>
          </a:blipFill>
        </p:spPr>
        <p:style>
          <a:lnRef idx="0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Rectangle : coins arrondis 18" descr="Porte-documents avec un remplissage uni">
            <a:extLst>
              <a:ext uri="{FF2B5EF4-FFF2-40B4-BE49-F238E27FC236}">
                <a16:creationId xmlns:a16="http://schemas.microsoft.com/office/drawing/2014/main" id="{502050FB-243A-42C5-945D-603F6F62DB16}"/>
              </a:ext>
            </a:extLst>
          </p:cNvPr>
          <p:cNvSpPr/>
          <p:nvPr/>
        </p:nvSpPr>
        <p:spPr>
          <a:xfrm>
            <a:off x="276605" y="3913911"/>
            <a:ext cx="753331" cy="363035"/>
          </a:xfrm>
          <a:prstGeom prst="roundRect">
            <a:avLst>
              <a:gd name="adj" fmla="val 10000"/>
            </a:avLst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 l="20495" t="-10124" r="20495" b="-10124"/>
            </a:stretch>
          </a:blipFill>
        </p:spPr>
        <p:style>
          <a:lnRef idx="0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Rectangle : coins arrondis 20" descr="Classe avec un remplissage uni">
            <a:extLst>
              <a:ext uri="{FF2B5EF4-FFF2-40B4-BE49-F238E27FC236}">
                <a16:creationId xmlns:a16="http://schemas.microsoft.com/office/drawing/2014/main" id="{A3C41D6E-EDFA-41DD-8EEF-466C8A6F1237}"/>
              </a:ext>
            </a:extLst>
          </p:cNvPr>
          <p:cNvSpPr/>
          <p:nvPr/>
        </p:nvSpPr>
        <p:spPr>
          <a:xfrm>
            <a:off x="276605" y="4401857"/>
            <a:ext cx="753331" cy="364813"/>
          </a:xfrm>
          <a:prstGeom prst="roundRect">
            <a:avLst>
              <a:gd name="adj" fmla="val 10000"/>
            </a:avLst>
          </a:prstGeom>
          <a:blipFill dpi="0"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l="16397" t="-2416" r="16397" b="-2416"/>
            </a:stretch>
          </a:blipFill>
        </p:spPr>
        <p:style>
          <a:lnRef idx="0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Rectangle : coins arrondis 22" descr="École avec un remplissage uni">
            <a:extLst>
              <a:ext uri="{FF2B5EF4-FFF2-40B4-BE49-F238E27FC236}">
                <a16:creationId xmlns:a16="http://schemas.microsoft.com/office/drawing/2014/main" id="{D38352E7-15DD-4C56-8B91-23A4BED0FC75}"/>
              </a:ext>
            </a:extLst>
          </p:cNvPr>
          <p:cNvSpPr/>
          <p:nvPr/>
        </p:nvSpPr>
        <p:spPr>
          <a:xfrm>
            <a:off x="1938065" y="3387551"/>
            <a:ext cx="883211" cy="419918"/>
          </a:xfrm>
          <a:prstGeom prst="roundRect">
            <a:avLst>
              <a:gd name="adj" fmla="val 10000"/>
            </a:avLst>
          </a:prstGeo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 l="14758" t="-16291" r="14758" b="-16291"/>
            </a:stretch>
          </a:blipFill>
        </p:spPr>
        <p:style>
          <a:lnRef idx="0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2" name="Rectangle : coins arrondis 7">
            <a:extLst>
              <a:ext uri="{FF2B5EF4-FFF2-40B4-BE49-F238E27FC236}">
                <a16:creationId xmlns:a16="http://schemas.microsoft.com/office/drawing/2014/main" id="{37A18080-250E-4D5F-A0F7-24F447B11BBA}"/>
              </a:ext>
            </a:extLst>
          </p:cNvPr>
          <p:cNvSpPr txBox="1"/>
          <p:nvPr/>
        </p:nvSpPr>
        <p:spPr>
          <a:xfrm>
            <a:off x="997584" y="4048712"/>
            <a:ext cx="786701" cy="2048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 sz="731"/>
              <a:t>EMPLOI</a:t>
            </a:r>
          </a:p>
        </p:txBody>
      </p:sp>
      <p:sp>
        <p:nvSpPr>
          <p:cNvPr id="33" name="Rectangle : coins arrondis 7">
            <a:extLst>
              <a:ext uri="{FF2B5EF4-FFF2-40B4-BE49-F238E27FC236}">
                <a16:creationId xmlns:a16="http://schemas.microsoft.com/office/drawing/2014/main" id="{A49CDC03-DCBE-4F83-A53E-B0F323BFFDE2}"/>
              </a:ext>
            </a:extLst>
          </p:cNvPr>
          <p:cNvSpPr txBox="1"/>
          <p:nvPr/>
        </p:nvSpPr>
        <p:spPr>
          <a:xfrm>
            <a:off x="972767" y="3527925"/>
            <a:ext cx="1038765" cy="27982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 sz="609"/>
              <a:t>FONCTIONNEMENT</a:t>
            </a:r>
          </a:p>
          <a:p>
            <a:r>
              <a:rPr lang="fr-FR" sz="609"/>
              <a:t>ADMINISTRATION</a:t>
            </a:r>
          </a:p>
        </p:txBody>
      </p:sp>
      <p:sp>
        <p:nvSpPr>
          <p:cNvPr id="34" name="Rectangle : coins arrondis 7">
            <a:extLst>
              <a:ext uri="{FF2B5EF4-FFF2-40B4-BE49-F238E27FC236}">
                <a16:creationId xmlns:a16="http://schemas.microsoft.com/office/drawing/2014/main" id="{051A2195-3EDD-4528-85EC-1803275A7E0C}"/>
              </a:ext>
            </a:extLst>
          </p:cNvPr>
          <p:cNvSpPr txBox="1"/>
          <p:nvPr/>
        </p:nvSpPr>
        <p:spPr>
          <a:xfrm>
            <a:off x="972767" y="4484476"/>
            <a:ext cx="883301" cy="2048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 sz="731"/>
              <a:t>EDUCATION</a:t>
            </a:r>
          </a:p>
        </p:txBody>
      </p:sp>
      <p:sp>
        <p:nvSpPr>
          <p:cNvPr id="35" name="Rectangle : coins arrondis 7">
            <a:extLst>
              <a:ext uri="{FF2B5EF4-FFF2-40B4-BE49-F238E27FC236}">
                <a16:creationId xmlns:a16="http://schemas.microsoft.com/office/drawing/2014/main" id="{1EF894DC-055E-4079-AB42-438BE7BD675C}"/>
              </a:ext>
            </a:extLst>
          </p:cNvPr>
          <p:cNvSpPr txBox="1"/>
          <p:nvPr/>
        </p:nvSpPr>
        <p:spPr>
          <a:xfrm>
            <a:off x="2646220" y="3574160"/>
            <a:ext cx="959729" cy="2048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 sz="731"/>
              <a:t>PATRIMOINE</a:t>
            </a:r>
          </a:p>
        </p:txBody>
      </p:sp>
      <p:pic>
        <p:nvPicPr>
          <p:cNvPr id="3" name="Graphique 2" descr="Outils d'exploitation minière avec un remplissage uni">
            <a:extLst>
              <a:ext uri="{FF2B5EF4-FFF2-40B4-BE49-F238E27FC236}">
                <a16:creationId xmlns:a16="http://schemas.microsoft.com/office/drawing/2014/main" id="{6B3F9A01-EACA-4D84-9FE5-18EC2F2AF37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68571" y="3964055"/>
            <a:ext cx="358908" cy="358908"/>
          </a:xfrm>
          <a:prstGeom prst="rect">
            <a:avLst/>
          </a:prstGeom>
        </p:spPr>
      </p:pic>
      <p:sp>
        <p:nvSpPr>
          <p:cNvPr id="20" name="Rectangle : coins arrondis 7">
            <a:extLst>
              <a:ext uri="{FF2B5EF4-FFF2-40B4-BE49-F238E27FC236}">
                <a16:creationId xmlns:a16="http://schemas.microsoft.com/office/drawing/2014/main" id="{D94F1E20-DE44-4525-8704-CBCF40812DFD}"/>
              </a:ext>
            </a:extLst>
          </p:cNvPr>
          <p:cNvSpPr txBox="1"/>
          <p:nvPr/>
        </p:nvSpPr>
        <p:spPr>
          <a:xfrm>
            <a:off x="2640483" y="4026248"/>
            <a:ext cx="959729" cy="2048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 sz="731"/>
              <a:t>GMAO</a:t>
            </a:r>
          </a:p>
        </p:txBody>
      </p:sp>
      <p:sp>
        <p:nvSpPr>
          <p:cNvPr id="22" name="Rectangle : coins arrondis 7">
            <a:extLst>
              <a:ext uri="{FF2B5EF4-FFF2-40B4-BE49-F238E27FC236}">
                <a16:creationId xmlns:a16="http://schemas.microsoft.com/office/drawing/2014/main" id="{AB9D369A-1318-4CDE-BFD3-D675DEF16036}"/>
              </a:ext>
            </a:extLst>
          </p:cNvPr>
          <p:cNvSpPr txBox="1"/>
          <p:nvPr/>
        </p:nvSpPr>
        <p:spPr>
          <a:xfrm>
            <a:off x="2624160" y="4491021"/>
            <a:ext cx="959729" cy="2048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 sz="731"/>
              <a:t>ENTREPRISE</a:t>
            </a:r>
          </a:p>
        </p:txBody>
      </p:sp>
      <p:pic>
        <p:nvPicPr>
          <p:cNvPr id="5" name="Graphique 4" descr="Usine avec un remplissage uni">
            <a:extLst>
              <a:ext uri="{FF2B5EF4-FFF2-40B4-BE49-F238E27FC236}">
                <a16:creationId xmlns:a16="http://schemas.microsoft.com/office/drawing/2014/main" id="{2D3E2A23-C0C1-4AB9-97AF-01BE3609342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076959" y="4300798"/>
            <a:ext cx="487397" cy="487397"/>
          </a:xfrm>
          <a:prstGeom prst="rect">
            <a:avLst/>
          </a:prstGeom>
        </p:spPr>
      </p:pic>
      <p:pic>
        <p:nvPicPr>
          <p:cNvPr id="7" name="Graphique 6" descr="Divers avec un remplissage uni">
            <a:extLst>
              <a:ext uri="{FF2B5EF4-FFF2-40B4-BE49-F238E27FC236}">
                <a16:creationId xmlns:a16="http://schemas.microsoft.com/office/drawing/2014/main" id="{FA684C78-AE90-466F-AF2A-D226736CCE5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63857" y="4868190"/>
            <a:ext cx="378827" cy="378827"/>
          </a:xfrm>
          <a:prstGeom prst="rect">
            <a:avLst/>
          </a:prstGeom>
        </p:spPr>
      </p:pic>
      <p:sp>
        <p:nvSpPr>
          <p:cNvPr id="25" name="Rectangle : coins arrondis 7">
            <a:extLst>
              <a:ext uri="{FF2B5EF4-FFF2-40B4-BE49-F238E27FC236}">
                <a16:creationId xmlns:a16="http://schemas.microsoft.com/office/drawing/2014/main" id="{8FB72270-3484-4877-9CE5-D4742FA71722}"/>
              </a:ext>
            </a:extLst>
          </p:cNvPr>
          <p:cNvSpPr txBox="1"/>
          <p:nvPr/>
        </p:nvSpPr>
        <p:spPr>
          <a:xfrm>
            <a:off x="976464" y="4957857"/>
            <a:ext cx="786701" cy="2048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fr-FR" sz="731"/>
              <a:t>AUTRES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1B1AF4A-D314-4266-867D-C3DB21328F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/>
              <a:t>Organisation Inetum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DDDEA0-26FD-4982-8C58-CCC345150A80}"/>
              </a:ext>
            </a:extLst>
          </p:cNvPr>
          <p:cNvSpPr/>
          <p:nvPr/>
        </p:nvSpPr>
        <p:spPr>
          <a:xfrm>
            <a:off x="276605" y="1554189"/>
            <a:ext cx="3146273" cy="1858828"/>
          </a:xfrm>
          <a:prstGeom prst="rect">
            <a:avLst/>
          </a:prstGeom>
          <a:noFill/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/>
          </a:p>
        </p:txBody>
      </p:sp>
      <p:pic>
        <p:nvPicPr>
          <p:cNvPr id="27" name="Graphique 26" descr="Brainstorming de groupe avec un remplissage uni">
            <a:extLst>
              <a:ext uri="{FF2B5EF4-FFF2-40B4-BE49-F238E27FC236}">
                <a16:creationId xmlns:a16="http://schemas.microsoft.com/office/drawing/2014/main" id="{EFE25F24-CFBF-4340-BAC0-F34D12EC6B0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51091" y="1703620"/>
            <a:ext cx="557213" cy="557213"/>
          </a:xfrm>
          <a:prstGeom prst="rect">
            <a:avLst/>
          </a:prstGeom>
        </p:spPr>
      </p:pic>
      <p:sp>
        <p:nvSpPr>
          <p:cNvPr id="28" name="Titre 1">
            <a:extLst>
              <a:ext uri="{FF2B5EF4-FFF2-40B4-BE49-F238E27FC236}">
                <a16:creationId xmlns:a16="http://schemas.microsoft.com/office/drawing/2014/main" id="{034ABD16-5E23-4EAA-B7E5-CE3D74B237C7}"/>
              </a:ext>
            </a:extLst>
          </p:cNvPr>
          <p:cNvSpPr txBox="1">
            <a:spLocks/>
          </p:cNvSpPr>
          <p:nvPr/>
        </p:nvSpPr>
        <p:spPr>
          <a:xfrm>
            <a:off x="586480" y="1759468"/>
            <a:ext cx="1554737" cy="346517"/>
          </a:xfrm>
          <a:prstGeom prst="rect">
            <a:avLst/>
          </a:prstGeom>
        </p:spPr>
        <p:txBody>
          <a:bodyPr wrap="square" lIns="0" tIns="8775" rIns="0" bIns="0">
            <a:spAutoFit/>
          </a:bodyPr>
          <a:lstStyle>
            <a:lvl1pPr marL="14400" algn="l">
              <a:spcBef>
                <a:spcPts val="100"/>
              </a:spcBef>
              <a:defRPr sz="3600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194" kern="0"/>
              <a:t>Squad 3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1C7E1F56-4CD1-4674-98AE-43BFD578BBDF}"/>
              </a:ext>
            </a:extLst>
          </p:cNvPr>
          <p:cNvSpPr txBox="1">
            <a:spLocks/>
          </p:cNvSpPr>
          <p:nvPr/>
        </p:nvSpPr>
        <p:spPr>
          <a:xfrm>
            <a:off x="322476" y="2362474"/>
            <a:ext cx="3061897" cy="105054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algn="l" eaLnBrk="1" hangingPunct="1">
              <a:lnSpc>
                <a:spcPct val="110000"/>
              </a:lnSpc>
              <a:spcBef>
                <a:spcPts val="465"/>
              </a:spcBef>
              <a:spcAft>
                <a:spcPts val="465"/>
              </a:spcAft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465"/>
              </a:spcAft>
              <a:defRPr sz="1575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465"/>
              </a:spcAft>
              <a:defRPr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216000" indent="-162000" algn="l" eaLnBrk="1" hangingPunct="1">
              <a:lnSpc>
                <a:spcPct val="110000"/>
              </a:lnSpc>
              <a:spcBef>
                <a:spcPts val="0"/>
              </a:spcBef>
              <a:spcAft>
                <a:spcPts val="555"/>
              </a:spcAft>
              <a:buFont typeface="Wingdings" panose="05000000000000000000" pitchFamily="2" charset="2"/>
              <a:buChar char="§"/>
              <a:defRPr sz="135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465"/>
              </a:spcAft>
              <a:defRPr sz="1125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16000" indent="-162000" algn="l" eaLnBrk="1" hangingPunct="1">
              <a:lnSpc>
                <a:spcPct val="110000"/>
              </a:lnSpc>
              <a:spcBef>
                <a:spcPts val="0"/>
              </a:spcBef>
              <a:spcAft>
                <a:spcPts val="555"/>
              </a:spcAft>
              <a:buFont typeface="Wingdings" panose="05000000000000000000" pitchFamily="2" charset="2"/>
              <a:buChar char="§"/>
              <a:defRPr sz="1125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 eaLnBrk="1" hangingPunct="1">
              <a:lnSpc>
                <a:spcPct val="110000"/>
              </a:lnSpc>
              <a:spcBef>
                <a:spcPts val="465"/>
              </a:spcBef>
              <a:spcAft>
                <a:spcPts val="0"/>
              </a:spcAft>
              <a:defRPr sz="975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216000" indent="-162000" algn="l" eaLnBrk="1" hangingPunct="1">
              <a:lnSpc>
                <a:spcPct val="110000"/>
              </a:lnSpc>
              <a:spcBef>
                <a:spcPts val="0"/>
              </a:spcBef>
              <a:spcAft>
                <a:spcPts val="555"/>
              </a:spcAft>
              <a:buFont typeface="Wingdings" panose="05000000000000000000" pitchFamily="2" charset="2"/>
              <a:buChar char="§"/>
              <a:defRPr sz="975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74320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50" b="1" dirty="0"/>
              <a:t>Chef de Projet TMA-INETUM : </a:t>
            </a:r>
            <a:br>
              <a:rPr lang="fr-FR" sz="1050" dirty="0"/>
            </a:br>
            <a:r>
              <a:rPr lang="fr-FR" sz="1050" b="1" dirty="0">
                <a:ea typeface="Verdana"/>
              </a:rPr>
              <a:t>Samuel GRANDBARBE</a:t>
            </a:r>
            <a:endParaRPr lang="fr-FR" sz="1050" dirty="0">
              <a:ea typeface="Verdana"/>
            </a:endParaRPr>
          </a:p>
          <a:p>
            <a:r>
              <a:rPr lang="fr-FR" sz="1050" b="1" dirty="0"/>
              <a:t>Référent Service TMA-INETUM : </a:t>
            </a:r>
            <a:br>
              <a:rPr lang="fr-FR" sz="1050" dirty="0"/>
            </a:br>
            <a:r>
              <a:rPr lang="fr-FR" sz="1050" dirty="0"/>
              <a:t>Alain HELIAS</a:t>
            </a:r>
            <a:endParaRPr lang="fr-FR" sz="1050" dirty="0">
              <a:ea typeface="Verdana"/>
            </a:endParaRPr>
          </a:p>
          <a:p>
            <a:endParaRPr lang="fr-FR" sz="1097"/>
          </a:p>
          <a:p>
            <a:br>
              <a:rPr lang="fr-FR" sz="1050" dirty="0"/>
            </a:br>
            <a:endParaRPr lang="fr-FR" sz="1097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6E8B3F08-741C-4626-A30B-2F0B6889814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87611" y="1511312"/>
            <a:ext cx="5723145" cy="4033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1815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34376624-41CE-4E11-A3DB-DFFCB4F51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9" y="708391"/>
            <a:ext cx="6663333" cy="430039"/>
          </a:xfrm>
        </p:spPr>
        <p:txBody>
          <a:bodyPr wrap="square" lIns="0" tIns="14400" rIns="0" bIns="0" anchor="t">
            <a:spAutoFit/>
          </a:bodyPr>
          <a:lstStyle/>
          <a:p>
            <a:pPr marL="8255"/>
            <a:r>
              <a:rPr lang="fr-FR" sz="2700" dirty="0">
                <a:solidFill>
                  <a:schemeClr val="accent1"/>
                </a:solidFill>
              </a:rPr>
              <a:t>Focus Squad 3</a:t>
            </a:r>
          </a:p>
        </p:txBody>
      </p:sp>
      <p:graphicFrame>
        <p:nvGraphicFramePr>
          <p:cNvPr id="2" name="Tableau 2">
            <a:extLst>
              <a:ext uri="{FF2B5EF4-FFF2-40B4-BE49-F238E27FC236}">
                <a16:creationId xmlns:a16="http://schemas.microsoft.com/office/drawing/2014/main" id="{E8489C92-5134-4637-A579-A9E3F2F72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094409"/>
              </p:ext>
            </p:extLst>
          </p:nvPr>
        </p:nvGraphicFramePr>
        <p:xfrm>
          <a:off x="1721255" y="1747428"/>
          <a:ext cx="7398336" cy="37540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8457">
                  <a:extLst>
                    <a:ext uri="{9D8B030D-6E8A-4147-A177-3AD203B41FA5}">
                      <a16:colId xmlns:a16="http://schemas.microsoft.com/office/drawing/2014/main" val="149684801"/>
                    </a:ext>
                  </a:extLst>
                </a:gridCol>
                <a:gridCol w="1218457">
                  <a:extLst>
                    <a:ext uri="{9D8B030D-6E8A-4147-A177-3AD203B41FA5}">
                      <a16:colId xmlns:a16="http://schemas.microsoft.com/office/drawing/2014/main" val="3736635135"/>
                    </a:ext>
                  </a:extLst>
                </a:gridCol>
                <a:gridCol w="1864035">
                  <a:extLst>
                    <a:ext uri="{9D8B030D-6E8A-4147-A177-3AD203B41FA5}">
                      <a16:colId xmlns:a16="http://schemas.microsoft.com/office/drawing/2014/main" val="3863240905"/>
                    </a:ext>
                  </a:extLst>
                </a:gridCol>
                <a:gridCol w="3097387">
                  <a:extLst>
                    <a:ext uri="{9D8B030D-6E8A-4147-A177-3AD203B41FA5}">
                      <a16:colId xmlns:a16="http://schemas.microsoft.com/office/drawing/2014/main" val="3126554024"/>
                    </a:ext>
                  </a:extLst>
                </a:gridCol>
              </a:tblGrid>
              <a:tr h="328477">
                <a:tc>
                  <a:txBody>
                    <a:bodyPr/>
                    <a:lstStyle/>
                    <a:p>
                      <a:r>
                        <a:rPr lang="fr-FR" sz="1100" dirty="0"/>
                        <a:t>Nom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r>
                        <a:rPr lang="fr-FR" sz="1100" dirty="0"/>
                        <a:t>Prénom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r>
                        <a:rPr lang="fr-FR" sz="1100" dirty="0"/>
                        <a:t>Fonction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fr-FR" sz="1100" dirty="0"/>
                        <a:t>email</a:t>
                      </a:r>
                    </a:p>
                  </a:txBody>
                  <a:tcPr marL="55721" marR="55721" marT="27861" marB="27861"/>
                </a:tc>
                <a:extLst>
                  <a:ext uri="{0D108BD9-81ED-4DB2-BD59-A6C34878D82A}">
                    <a16:rowId xmlns:a16="http://schemas.microsoft.com/office/drawing/2014/main" val="1866792214"/>
                  </a:ext>
                </a:extLst>
              </a:tr>
              <a:tr h="320656"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OBON</a:t>
                      </a:r>
                      <a:endParaRPr lang="fr-FR" sz="1100" dirty="0" err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ne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rice de Projet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b="0" i="0" u="none" strike="noStrike" noProof="0" dirty="0"/>
                        <a:t>anne.leobon@inetum.com</a:t>
                      </a:r>
                      <a:endParaRPr lang="fr-FR" dirty="0"/>
                    </a:p>
                  </a:txBody>
                  <a:tcPr marL="55721" marR="55721" marT="11609" marB="11609"/>
                </a:tc>
                <a:extLst>
                  <a:ext uri="{0D108BD9-81ED-4DB2-BD59-A6C34878D82A}">
                    <a16:rowId xmlns:a16="http://schemas.microsoft.com/office/drawing/2014/main" val="1111263571"/>
                  </a:ext>
                </a:extLst>
              </a:tr>
              <a:tr h="312835"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 CONINCK   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ckael   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steur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b="0" i="0" u="none" strike="noStrike" noProof="0" dirty="0"/>
                        <a:t>mickael.de-coninck@inetum.com</a:t>
                      </a:r>
                      <a:endParaRPr lang="fr-FR" dirty="0"/>
                    </a:p>
                  </a:txBody>
                  <a:tcPr marL="55721" marR="55721" marT="11609" marB="11609"/>
                </a:tc>
                <a:extLst>
                  <a:ext uri="{0D108BD9-81ED-4DB2-BD59-A6C34878D82A}">
                    <a16:rowId xmlns:a16="http://schemas.microsoft.com/office/drawing/2014/main" val="3030778613"/>
                  </a:ext>
                </a:extLst>
              </a:tr>
              <a:tr h="305014"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ICHARDSON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kael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GENIEUR DE PROD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b="0" i="0" u="none" strike="noStrike" noProof="0" dirty="0"/>
                        <a:t>mikael.richardson@inetum.com</a:t>
                      </a:r>
                      <a:endParaRPr lang="fr-FR" dirty="0"/>
                    </a:p>
                  </a:txBody>
                  <a:tcPr marL="55721" marR="55721" marT="11609" marB="11609"/>
                </a:tc>
                <a:extLst>
                  <a:ext uri="{0D108BD9-81ED-4DB2-BD59-A6C34878D82A}">
                    <a16:rowId xmlns:a16="http://schemas.microsoft.com/office/drawing/2014/main" val="2594418258"/>
                  </a:ext>
                </a:extLst>
              </a:tr>
              <a:tr h="289372"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ADHIOU   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igne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pport N2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b="0" i="0" u="none" strike="noStrike" noProof="0" dirty="0"/>
                        <a:t>serigne.diadhiou@inetum.com</a:t>
                      </a:r>
                      <a:endParaRPr lang="fr-FR" dirty="0"/>
                    </a:p>
                  </a:txBody>
                  <a:tcPr marL="55721" marR="55721" marT="11609" marB="11609"/>
                </a:tc>
                <a:extLst>
                  <a:ext uri="{0D108BD9-81ED-4DB2-BD59-A6C34878D82A}">
                    <a16:rowId xmlns:a16="http://schemas.microsoft.com/office/drawing/2014/main" val="1668235937"/>
                  </a:ext>
                </a:extLst>
              </a:tr>
              <a:tr h="328477"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CHKAR   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hamed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 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b="0" i="0" u="none" strike="noStrike" noProof="0" dirty="0"/>
                        <a:t>mohamed.lachkar@inetum.com</a:t>
                      </a:r>
                      <a:endParaRPr lang="fr-FR" dirty="0"/>
                    </a:p>
                  </a:txBody>
                  <a:tcPr marL="55721" marR="55721" marT="11609" marB="11609"/>
                </a:tc>
                <a:extLst>
                  <a:ext uri="{0D108BD9-81ED-4DB2-BD59-A6C34878D82A}">
                    <a16:rowId xmlns:a16="http://schemas.microsoft.com/office/drawing/2014/main" val="2592824044"/>
                  </a:ext>
                </a:extLst>
              </a:tr>
              <a:tr h="265910"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SAOUDI   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ss 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b="0" i="0" u="none" strike="noStrike" noProof="0" dirty="0"/>
                        <a:t>anass.masaoudi@inetum.com</a:t>
                      </a:r>
                      <a:endParaRPr lang="fr-FR" dirty="0"/>
                    </a:p>
                  </a:txBody>
                  <a:tcPr marL="55721" marR="55721" marT="11609" marB="11609"/>
                </a:tc>
                <a:extLst>
                  <a:ext uri="{0D108BD9-81ED-4DB2-BD59-A6C34878D82A}">
                    <a16:rowId xmlns:a16="http://schemas.microsoft.com/office/drawing/2014/main" val="204811337"/>
                  </a:ext>
                </a:extLst>
              </a:tr>
              <a:tr h="297194"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VARRO   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urent 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algn="l" rtl="0" fontAlgn="base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</a:t>
                      </a:r>
                    </a:p>
                  </a:txBody>
                  <a:tcPr marL="55721" marR="55721" marT="11609" marB="11609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fr-FR" sz="1100" b="0" i="0" u="none" strike="noStrike" noProof="0" dirty="0"/>
                        <a:t>laurent.navarro@inetum.com</a:t>
                      </a:r>
                      <a:endParaRPr lang="fr-FR" dirty="0"/>
                    </a:p>
                  </a:txBody>
                  <a:tcPr marL="55721" marR="55721" marT="11609" marB="11609"/>
                </a:tc>
                <a:extLst>
                  <a:ext uri="{0D108BD9-81ED-4DB2-BD59-A6C34878D82A}">
                    <a16:rowId xmlns:a16="http://schemas.microsoft.com/office/drawing/2014/main" val="293196623"/>
                  </a:ext>
                </a:extLst>
              </a:tr>
              <a:tr h="32065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fr-FR" sz="1100" b="0" i="0" u="none" strike="noStrike" noProof="0" dirty="0">
                          <a:latin typeface="Verdana"/>
                        </a:rPr>
                        <a:t>PASTICIER</a:t>
                      </a:r>
                      <a:endParaRPr lang="fr-FR" dirty="0"/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aire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P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b="0" i="0" u="none" strike="noStrike" noProof="0" dirty="0"/>
                        <a:t>claire.pasticier@inetum.com</a:t>
                      </a:r>
                      <a:endParaRPr lang="fr-FR" dirty="0"/>
                    </a:p>
                  </a:txBody>
                  <a:tcPr marL="55721" marR="55721" marT="27861" marB="27861"/>
                </a:tc>
                <a:extLst>
                  <a:ext uri="{0D108BD9-81ED-4DB2-BD59-A6C34878D82A}">
                    <a16:rowId xmlns:a16="http://schemas.microsoft.com/office/drawing/2014/main" val="288213798"/>
                  </a:ext>
                </a:extLst>
              </a:tr>
              <a:tr h="33629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fr-FR" sz="1100" dirty="0"/>
                        <a:t>HELIAS</a:t>
                      </a:r>
                      <a:endParaRPr lang="fr-FR" sz="1100" dirty="0" err="1"/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ain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/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P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b="0" i="0" u="none" strike="noStrike" noProof="0" dirty="0"/>
                        <a:t>alain.helias@inetum.com</a:t>
                      </a:r>
                      <a:endParaRPr lang="fr-FR" dirty="0"/>
                    </a:p>
                  </a:txBody>
                  <a:tcPr marL="55721" marR="55721" marT="27861" marB="27861"/>
                </a:tc>
                <a:extLst>
                  <a:ext uri="{0D108BD9-81ED-4DB2-BD59-A6C34878D82A}">
                    <a16:rowId xmlns:a16="http://schemas.microsoft.com/office/drawing/2014/main" val="4193731841"/>
                  </a:ext>
                </a:extLst>
              </a:tr>
              <a:tr h="32065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fr-FR" sz="1100" b="0" i="0" u="none" strike="noStrike" noProof="0" dirty="0">
                          <a:latin typeface="Verdana"/>
                        </a:rPr>
                        <a:t>DE-GEITERE</a:t>
                      </a:r>
                      <a:endParaRPr lang="fr-FR" dirty="0"/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éphane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chemeClr val="dk1"/>
                          </a:solidFill>
                          <a:latin typeface="Verdana"/>
                        </a:rPr>
                        <a:t>INGENIEUR DE PROD</a:t>
                      </a:r>
                      <a:endParaRPr lang="fr-FR" dirty="0"/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b="0" i="0" u="none" strike="noStrike" noProof="0" dirty="0"/>
                        <a:t>stephane.de-geitere@inetum.com</a:t>
                      </a:r>
                      <a:endParaRPr lang="fr-FR" dirty="0"/>
                    </a:p>
                  </a:txBody>
                  <a:tcPr marL="55721" marR="55721" marT="27861" marB="27861"/>
                </a:tc>
                <a:extLst>
                  <a:ext uri="{0D108BD9-81ED-4DB2-BD59-A6C34878D82A}">
                    <a16:rowId xmlns:a16="http://schemas.microsoft.com/office/drawing/2014/main" val="2455510842"/>
                  </a:ext>
                </a:extLst>
              </a:tr>
              <a:tr h="32847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fr-FR" sz="1100" b="0" i="0" u="none" strike="noStrike" noProof="0" dirty="0">
                          <a:latin typeface="Verdana"/>
                        </a:rPr>
                        <a:t>GRANDBARBE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b="0" i="0" u="none" strike="noStrike" noProof="0" dirty="0">
                          <a:latin typeface="Verdana"/>
                        </a:rPr>
                        <a:t>Samuel</a:t>
                      </a:r>
                      <a:endParaRPr lang="fr-FR" dirty="0"/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P</a:t>
                      </a:r>
                    </a:p>
                  </a:txBody>
                  <a:tcPr marL="55721" marR="55721" marT="27861" marB="27861"/>
                </a:tc>
                <a:tc>
                  <a:txBody>
                    <a:bodyPr/>
                    <a:lstStyle/>
                    <a:p>
                      <a:pPr marL="0" lvl="0">
                        <a:buNone/>
                      </a:pPr>
                      <a:r>
                        <a:rPr lang="fr-FR" sz="1100" b="0" i="0" u="none" strike="noStrike" noProof="0" dirty="0"/>
                        <a:t>samuel.grandbarbe@inetum.com</a:t>
                      </a:r>
                      <a:endParaRPr lang="fr-FR" dirty="0"/>
                    </a:p>
                  </a:txBody>
                  <a:tcPr marL="55721" marR="55721" marT="27861" marB="27861"/>
                </a:tc>
                <a:extLst>
                  <a:ext uri="{0D108BD9-81ED-4DB2-BD59-A6C34878D82A}">
                    <a16:rowId xmlns:a16="http://schemas.microsoft.com/office/drawing/2014/main" val="3656266602"/>
                  </a:ext>
                </a:extLst>
              </a:tr>
            </a:tbl>
          </a:graphicData>
        </a:graphic>
      </p:graphicFrame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3DAF777-EA31-4D3C-9A48-54987062E036}"/>
              </a:ext>
            </a:extLst>
          </p:cNvPr>
          <p:cNvSpPr/>
          <p:nvPr/>
        </p:nvSpPr>
        <p:spPr>
          <a:xfrm>
            <a:off x="586850" y="1741542"/>
            <a:ext cx="886672" cy="29708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853" b="1">
                <a:solidFill>
                  <a:schemeClr val="accent1"/>
                </a:solidFill>
              </a:rPr>
              <a:t>SQUAD 3</a:t>
            </a:r>
          </a:p>
        </p:txBody>
      </p:sp>
      <p:pic>
        <p:nvPicPr>
          <p:cNvPr id="6" name="Graphique 5" descr="Programmeur">
            <a:extLst>
              <a:ext uri="{FF2B5EF4-FFF2-40B4-BE49-F238E27FC236}">
                <a16:creationId xmlns:a16="http://schemas.microsoft.com/office/drawing/2014/main" id="{68E8865C-48DD-4576-A41F-D78134A2B4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4684" y="4217178"/>
            <a:ext cx="438750" cy="438750"/>
          </a:xfrm>
          <a:prstGeom prst="rect">
            <a:avLst/>
          </a:prstGeom>
        </p:spPr>
      </p:pic>
      <p:pic>
        <p:nvPicPr>
          <p:cNvPr id="8" name="Graphique 7" descr="Programmeur">
            <a:extLst>
              <a:ext uri="{FF2B5EF4-FFF2-40B4-BE49-F238E27FC236}">
                <a16:creationId xmlns:a16="http://schemas.microsoft.com/office/drawing/2014/main" id="{49B24208-CD39-4CF6-BB76-4F61F9256A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4684" y="3681534"/>
            <a:ext cx="438750" cy="43875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B803A3BF-D656-4D59-80F8-DC9994BDD73A}"/>
              </a:ext>
            </a:extLst>
          </p:cNvPr>
          <p:cNvSpPr txBox="1"/>
          <p:nvPr/>
        </p:nvSpPr>
        <p:spPr>
          <a:xfrm>
            <a:off x="1500086" y="483367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Poppins"/>
                <a:cs typeface="Poppins"/>
              </a:rPr>
              <a:t>​</a:t>
            </a:r>
            <a:endParaRPr lang="en-US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047E795-0129-4F55-A2AE-3E0340F8D36C}"/>
              </a:ext>
            </a:extLst>
          </p:cNvPr>
          <p:cNvSpPr txBox="1"/>
          <p:nvPr/>
        </p:nvSpPr>
        <p:spPr>
          <a:xfrm>
            <a:off x="902917" y="3902883"/>
            <a:ext cx="21400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Poppins"/>
                <a:cs typeface="Poppins"/>
              </a:rPr>
              <a:t>​</a:t>
            </a:r>
            <a:endParaRPr lang="en-US"/>
          </a:p>
        </p:txBody>
      </p:sp>
      <p:pic>
        <p:nvPicPr>
          <p:cNvPr id="16" name="Graphique 15" descr="Programmeur">
            <a:extLst>
              <a:ext uri="{FF2B5EF4-FFF2-40B4-BE49-F238E27FC236}">
                <a16:creationId xmlns:a16="http://schemas.microsoft.com/office/drawing/2014/main" id="{064B78E5-D326-4BD5-8F8F-4F6AAEA1BA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4592" y="3207356"/>
            <a:ext cx="438750" cy="438750"/>
          </a:xfrm>
          <a:prstGeom prst="rect">
            <a:avLst/>
          </a:prstGeom>
        </p:spPr>
      </p:pic>
      <p:pic>
        <p:nvPicPr>
          <p:cNvPr id="17" name="Graphique 16" descr="Programmeur">
            <a:extLst>
              <a:ext uri="{FF2B5EF4-FFF2-40B4-BE49-F238E27FC236}">
                <a16:creationId xmlns:a16="http://schemas.microsoft.com/office/drawing/2014/main" id="{46C98616-81E6-4C54-A711-FA57AE9F29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4579" y="2724399"/>
            <a:ext cx="438750" cy="438750"/>
          </a:xfrm>
          <a:prstGeom prst="rect">
            <a:avLst/>
          </a:prstGeom>
        </p:spPr>
      </p:pic>
      <p:pic>
        <p:nvPicPr>
          <p:cNvPr id="18" name="Graphique 17" descr="Programmeur">
            <a:extLst>
              <a:ext uri="{FF2B5EF4-FFF2-40B4-BE49-F238E27FC236}">
                <a16:creationId xmlns:a16="http://schemas.microsoft.com/office/drawing/2014/main" id="{2BE709C7-EC7B-428F-9128-2778210907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4565" y="2127288"/>
            <a:ext cx="438750" cy="43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833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du texte 45">
            <a:extLst>
              <a:ext uri="{FF2B5EF4-FFF2-40B4-BE49-F238E27FC236}">
                <a16:creationId xmlns:a16="http://schemas.microsoft.com/office/drawing/2014/main" id="{15A15CBF-24BE-4505-8F37-932F25BB4C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91494" y="1343027"/>
            <a:ext cx="433388" cy="673892"/>
          </a:xfrm>
        </p:spPr>
        <p:txBody>
          <a:bodyPr/>
          <a:lstStyle/>
          <a:p>
            <a:r>
              <a:rPr lang="fr-FR" sz="1450" dirty="0">
                <a:ea typeface="Verdana"/>
              </a:rPr>
              <a:t>RP</a:t>
            </a:r>
            <a:endParaRPr lang="fr-FR" dirty="0"/>
          </a:p>
        </p:txBody>
      </p:sp>
      <p:sp>
        <p:nvSpPr>
          <p:cNvPr id="47" name="Espace réservé du texte 46">
            <a:extLst>
              <a:ext uri="{FF2B5EF4-FFF2-40B4-BE49-F238E27FC236}">
                <a16:creationId xmlns:a16="http://schemas.microsoft.com/office/drawing/2014/main" id="{A829C613-987D-4914-B89B-AE116864C4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82792" y="1553877"/>
            <a:ext cx="2587426" cy="244860"/>
          </a:xfrm>
        </p:spPr>
        <p:txBody>
          <a:bodyPr/>
          <a:lstStyle/>
          <a:p>
            <a:pPr marL="8255"/>
            <a:r>
              <a:rPr lang="fr-FR" sz="1500" dirty="0">
                <a:ea typeface="Verdana"/>
              </a:rPr>
              <a:t>Anne LEOBON</a:t>
            </a:r>
            <a:endParaRPr lang="fr-FR" dirty="0">
              <a:ea typeface="Verdana"/>
            </a:endParaRPr>
          </a:p>
        </p:txBody>
      </p:sp>
      <p:sp>
        <p:nvSpPr>
          <p:cNvPr id="45" name="Titre 44">
            <a:extLst>
              <a:ext uri="{FF2B5EF4-FFF2-40B4-BE49-F238E27FC236}">
                <a16:creationId xmlns:a16="http://schemas.microsoft.com/office/drawing/2014/main" id="{31480D8B-15F3-4AF4-80F9-E104766BF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234" y="293773"/>
            <a:ext cx="2256911" cy="578473"/>
          </a:xfrm>
        </p:spPr>
        <p:txBody>
          <a:bodyPr lIns="0" tIns="0" rIns="0" bIns="0" anchor="t"/>
          <a:lstStyle/>
          <a:p>
            <a:pPr marL="8255"/>
            <a:r>
              <a:rPr lang="fr-FR" sz="2700" dirty="0">
                <a:solidFill>
                  <a:schemeClr val="accent1"/>
                </a:solidFill>
                <a:ea typeface="Verdana"/>
              </a:rPr>
              <a:t>SQUAD 3 </a:t>
            </a:r>
            <a:endParaRPr lang="fr-FR" dirty="0">
              <a:solidFill>
                <a:schemeClr val="accent1"/>
              </a:solidFill>
              <a:ea typeface="Verdana"/>
            </a:endParaRPr>
          </a:p>
        </p:txBody>
      </p:sp>
      <p:pic>
        <p:nvPicPr>
          <p:cNvPr id="2" name="Image 2" descr="Une image contenant mur, personne, intérieur, homme&#10;&#10;Description générée automatiquement">
            <a:extLst>
              <a:ext uri="{FF2B5EF4-FFF2-40B4-BE49-F238E27FC236}">
                <a16:creationId xmlns:a16="http://schemas.microsoft.com/office/drawing/2014/main" id="{6113239F-6A1E-4B11-87EE-4696E86917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24" y="3751887"/>
            <a:ext cx="1055744" cy="1384551"/>
          </a:xfrm>
          <a:prstGeom prst="rect">
            <a:avLst/>
          </a:prstGeom>
        </p:spPr>
      </p:pic>
      <p:pic>
        <p:nvPicPr>
          <p:cNvPr id="3" name="Image 3" descr="Une image contenant personne, mur, intérieur&#10;&#10;Description générée automatiquement">
            <a:extLst>
              <a:ext uri="{FF2B5EF4-FFF2-40B4-BE49-F238E27FC236}">
                <a16:creationId xmlns:a16="http://schemas.microsoft.com/office/drawing/2014/main" id="{E56E13AD-9F73-40ED-A18D-16FC5A794D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702" y="2410765"/>
            <a:ext cx="1057379" cy="1238250"/>
          </a:xfrm>
          <a:prstGeom prst="rect">
            <a:avLst/>
          </a:prstGeom>
        </p:spPr>
      </p:pic>
      <p:pic>
        <p:nvPicPr>
          <p:cNvPr id="4" name="Image 4" descr="Une image contenant personne&#10;&#10;Description générée automatiquement">
            <a:extLst>
              <a:ext uri="{FF2B5EF4-FFF2-40B4-BE49-F238E27FC236}">
                <a16:creationId xmlns:a16="http://schemas.microsoft.com/office/drawing/2014/main" id="{F636AD4B-2F7E-4A52-938C-6C40B1E547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2316" y="2351675"/>
            <a:ext cx="971646" cy="1209675"/>
          </a:xfrm>
          <a:prstGeom prst="rect">
            <a:avLst/>
          </a:prstGeom>
        </p:spPr>
      </p:pic>
      <p:pic>
        <p:nvPicPr>
          <p:cNvPr id="5" name="Image 5" descr="Une image contenant personne, cravate, homme, mur&#10;&#10;Description générée automatiquement">
            <a:extLst>
              <a:ext uri="{FF2B5EF4-FFF2-40B4-BE49-F238E27FC236}">
                <a16:creationId xmlns:a16="http://schemas.microsoft.com/office/drawing/2014/main" id="{06AC44FF-6266-46BE-86E8-1CABBB72B5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4695" y="966648"/>
            <a:ext cx="932797" cy="1213992"/>
          </a:xfrm>
          <a:prstGeom prst="rect">
            <a:avLst/>
          </a:prstGeom>
        </p:spPr>
      </p:pic>
      <p:pic>
        <p:nvPicPr>
          <p:cNvPr id="7" name="Image 7" descr="Une image contenant personne, mur, femme, intérieur&#10;&#10;Description générée automatiquement">
            <a:extLst>
              <a:ext uri="{FF2B5EF4-FFF2-40B4-BE49-F238E27FC236}">
                <a16:creationId xmlns:a16="http://schemas.microsoft.com/office/drawing/2014/main" id="{1EFD2FD6-F866-4397-B6CF-3D6958823D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2344" y="945062"/>
            <a:ext cx="1060502" cy="1214286"/>
          </a:xfrm>
          <a:prstGeom prst="rect">
            <a:avLst/>
          </a:prstGeom>
        </p:spPr>
      </p:pic>
      <p:pic>
        <p:nvPicPr>
          <p:cNvPr id="8" name="Image 8" descr="Une image contenant personne, posant&#10;&#10;Description générée automatiquement">
            <a:extLst>
              <a:ext uri="{FF2B5EF4-FFF2-40B4-BE49-F238E27FC236}">
                <a16:creationId xmlns:a16="http://schemas.microsoft.com/office/drawing/2014/main" id="{E52F4454-CE4D-4CB0-BC63-DD128A5041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88522" y="3804573"/>
            <a:ext cx="1098154" cy="1190625"/>
          </a:xfrm>
          <a:prstGeom prst="rect">
            <a:avLst/>
          </a:prstGeom>
        </p:spPr>
      </p:pic>
      <p:pic>
        <p:nvPicPr>
          <p:cNvPr id="9" name="Image 9" descr="Une image contenant texte, personne, intérieur, mur&#10;&#10;Description générée automatiquement">
            <a:extLst>
              <a:ext uri="{FF2B5EF4-FFF2-40B4-BE49-F238E27FC236}">
                <a16:creationId xmlns:a16="http://schemas.microsoft.com/office/drawing/2014/main" id="{0BD341FA-BE71-4011-B5B8-1A95F947E9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7704" y="5343635"/>
            <a:ext cx="1054842" cy="1238250"/>
          </a:xfrm>
          <a:prstGeom prst="rect">
            <a:avLst/>
          </a:prstGeom>
        </p:spPr>
      </p:pic>
      <p:sp>
        <p:nvSpPr>
          <p:cNvPr id="10" name="Espace réservé du texte 45">
            <a:extLst>
              <a:ext uri="{FF2B5EF4-FFF2-40B4-BE49-F238E27FC236}">
                <a16:creationId xmlns:a16="http://schemas.microsoft.com/office/drawing/2014/main" id="{3C737F46-D99B-495A-B610-D8B88375FA51}"/>
              </a:ext>
            </a:extLst>
          </p:cNvPr>
          <p:cNvSpPr txBox="1">
            <a:spLocks/>
          </p:cNvSpPr>
          <p:nvPr/>
        </p:nvSpPr>
        <p:spPr>
          <a:xfrm>
            <a:off x="6365165" y="1337368"/>
            <a:ext cx="433388" cy="673892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205200" rIns="0" bIns="0" rtlCol="0" anchor="t">
            <a:noAutofit/>
          </a:bodyPr>
          <a:lstStyle>
            <a:lvl1pPr marL="0" algn="ctr">
              <a:lnSpc>
                <a:spcPct val="110000"/>
              </a:lnSpc>
              <a:spcBef>
                <a:spcPts val="981"/>
              </a:spcBef>
              <a:spcAft>
                <a:spcPts val="378"/>
              </a:spcAft>
              <a:defRPr sz="1463" b="1" kern="1200" spc="-61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3pPr>
            <a:lvl4pPr marL="175507" indent="-131630" algn="ctr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4pPr>
            <a:lvl5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50" dirty="0">
                <a:ea typeface="Verdana"/>
              </a:rPr>
              <a:t>CP</a:t>
            </a:r>
            <a:endParaRPr lang="fr-FR" dirty="0"/>
          </a:p>
        </p:txBody>
      </p:sp>
      <p:sp>
        <p:nvSpPr>
          <p:cNvPr id="11" name="Espace réservé du texte 46">
            <a:extLst>
              <a:ext uri="{FF2B5EF4-FFF2-40B4-BE49-F238E27FC236}">
                <a16:creationId xmlns:a16="http://schemas.microsoft.com/office/drawing/2014/main" id="{2135D48E-1404-4AEA-B774-229774BF101D}"/>
              </a:ext>
            </a:extLst>
          </p:cNvPr>
          <p:cNvSpPr txBox="1">
            <a:spLocks/>
          </p:cNvSpPr>
          <p:nvPr/>
        </p:nvSpPr>
        <p:spPr>
          <a:xfrm>
            <a:off x="2223011" y="5838433"/>
            <a:ext cx="2587426" cy="248579"/>
          </a:xfrm>
          <a:prstGeom prst="rect">
            <a:avLst/>
          </a:prstGeom>
        </p:spPr>
        <p:txBody>
          <a:bodyPr vert="horz" wrap="square" lIns="0" tIns="14400" rIns="0" bIns="0" rtlCol="0" anchor="b">
            <a:spAutoFit/>
          </a:bodyPr>
          <a:lstStyle>
            <a:lvl1pPr marL="8775" algn="l">
              <a:lnSpc>
                <a:spcPct val="110000"/>
              </a:lnSpc>
              <a:spcBef>
                <a:spcPts val="61"/>
              </a:spcBef>
              <a:spcAft>
                <a:spcPts val="378"/>
              </a:spcAft>
              <a:defRPr sz="1524" b="0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792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pPr marL="8255"/>
            <a:r>
              <a:rPr lang="fr-FR" sz="1500" dirty="0">
                <a:ea typeface="Verdana"/>
              </a:rPr>
              <a:t>Mohamed </a:t>
            </a:r>
            <a:r>
              <a:rPr lang="fr-FR" sz="1500" dirty="0">
                <a:solidFill>
                  <a:schemeClr val="dk1"/>
                </a:solidFill>
                <a:ea typeface="Verdana"/>
              </a:rPr>
              <a:t>LACHKAR   </a:t>
            </a:r>
            <a:endParaRPr lang="fr-FR" dirty="0" err="1">
              <a:solidFill>
                <a:schemeClr val="dk1"/>
              </a:solidFill>
              <a:ea typeface="Verdana"/>
            </a:endParaRPr>
          </a:p>
        </p:txBody>
      </p:sp>
      <p:sp>
        <p:nvSpPr>
          <p:cNvPr id="12" name="Espace réservé du texte 46">
            <a:extLst>
              <a:ext uri="{FF2B5EF4-FFF2-40B4-BE49-F238E27FC236}">
                <a16:creationId xmlns:a16="http://schemas.microsoft.com/office/drawing/2014/main" id="{41B9E25A-90A1-421A-8F7B-3C30FACC9D5B}"/>
              </a:ext>
            </a:extLst>
          </p:cNvPr>
          <p:cNvSpPr txBox="1">
            <a:spLocks/>
          </p:cNvSpPr>
          <p:nvPr/>
        </p:nvSpPr>
        <p:spPr>
          <a:xfrm>
            <a:off x="6906879" y="1551340"/>
            <a:ext cx="2587426" cy="244860"/>
          </a:xfrm>
          <a:prstGeom prst="rect">
            <a:avLst/>
          </a:prstGeom>
        </p:spPr>
        <p:txBody>
          <a:bodyPr vert="horz" wrap="square" lIns="0" tIns="14400" rIns="0" bIns="0" rtlCol="0" anchor="b">
            <a:spAutoFit/>
          </a:bodyPr>
          <a:lstStyle>
            <a:lvl1pPr marL="8775" algn="l">
              <a:lnSpc>
                <a:spcPct val="110000"/>
              </a:lnSpc>
              <a:spcBef>
                <a:spcPts val="61"/>
              </a:spcBef>
              <a:spcAft>
                <a:spcPts val="378"/>
              </a:spcAft>
              <a:defRPr sz="1524" b="0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792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pPr marL="8255"/>
            <a:r>
              <a:rPr lang="fr-FR" sz="1500" dirty="0">
                <a:ea typeface="Verdana"/>
              </a:rPr>
              <a:t>Alain HELIAS</a:t>
            </a:r>
            <a:endParaRPr lang="fr-FR" dirty="0">
              <a:ea typeface="Verdana"/>
            </a:endParaRPr>
          </a:p>
        </p:txBody>
      </p:sp>
      <p:sp>
        <p:nvSpPr>
          <p:cNvPr id="14" name="Espace réservé du texte 46">
            <a:extLst>
              <a:ext uri="{FF2B5EF4-FFF2-40B4-BE49-F238E27FC236}">
                <a16:creationId xmlns:a16="http://schemas.microsoft.com/office/drawing/2014/main" id="{6CD42B82-12F8-4411-B53B-309397D26406}"/>
              </a:ext>
            </a:extLst>
          </p:cNvPr>
          <p:cNvSpPr txBox="1">
            <a:spLocks/>
          </p:cNvSpPr>
          <p:nvPr/>
        </p:nvSpPr>
        <p:spPr>
          <a:xfrm>
            <a:off x="2039131" y="2909866"/>
            <a:ext cx="2587426" cy="244860"/>
          </a:xfrm>
          <a:prstGeom prst="rect">
            <a:avLst/>
          </a:prstGeom>
        </p:spPr>
        <p:txBody>
          <a:bodyPr vert="horz" wrap="square" lIns="0" tIns="14400" rIns="0" bIns="0" rtlCol="0" anchor="b">
            <a:spAutoFit/>
          </a:bodyPr>
          <a:lstStyle>
            <a:lvl1pPr marL="8775" algn="l">
              <a:lnSpc>
                <a:spcPct val="110000"/>
              </a:lnSpc>
              <a:spcBef>
                <a:spcPts val="61"/>
              </a:spcBef>
              <a:spcAft>
                <a:spcPts val="378"/>
              </a:spcAft>
              <a:defRPr sz="1524" b="0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792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pPr marL="8255"/>
            <a:r>
              <a:rPr lang="fr-FR" sz="1500" dirty="0">
                <a:ea typeface="Verdana"/>
              </a:rPr>
              <a:t>Serigne </a:t>
            </a:r>
            <a:r>
              <a:rPr lang="fr-FR" sz="1500" dirty="0">
                <a:solidFill>
                  <a:schemeClr val="dk1"/>
                </a:solidFill>
                <a:ea typeface="Verdana"/>
              </a:rPr>
              <a:t>DIADHIOU  </a:t>
            </a:r>
            <a:endParaRPr lang="fr-FR" dirty="0">
              <a:solidFill>
                <a:schemeClr val="dk1"/>
              </a:solidFill>
              <a:ea typeface="Verdana"/>
            </a:endParaRPr>
          </a:p>
        </p:txBody>
      </p:sp>
      <p:sp>
        <p:nvSpPr>
          <p:cNvPr id="15" name="Espace réservé du texte 46">
            <a:extLst>
              <a:ext uri="{FF2B5EF4-FFF2-40B4-BE49-F238E27FC236}">
                <a16:creationId xmlns:a16="http://schemas.microsoft.com/office/drawing/2014/main" id="{7ED0EA54-5A28-4D1A-8BE4-902B15DC13C8}"/>
              </a:ext>
            </a:extLst>
          </p:cNvPr>
          <p:cNvSpPr txBox="1">
            <a:spLocks/>
          </p:cNvSpPr>
          <p:nvPr/>
        </p:nvSpPr>
        <p:spPr>
          <a:xfrm>
            <a:off x="2226659" y="4317956"/>
            <a:ext cx="2587426" cy="244860"/>
          </a:xfrm>
          <a:prstGeom prst="rect">
            <a:avLst/>
          </a:prstGeom>
        </p:spPr>
        <p:txBody>
          <a:bodyPr vert="horz" wrap="square" lIns="0" tIns="14400" rIns="0" bIns="0" rtlCol="0" anchor="b">
            <a:spAutoFit/>
          </a:bodyPr>
          <a:lstStyle>
            <a:lvl1pPr marL="8775" algn="l">
              <a:lnSpc>
                <a:spcPct val="110000"/>
              </a:lnSpc>
              <a:spcBef>
                <a:spcPts val="61"/>
              </a:spcBef>
              <a:spcAft>
                <a:spcPts val="378"/>
              </a:spcAft>
              <a:defRPr sz="1524" b="0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792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pPr marL="8255"/>
            <a:r>
              <a:rPr lang="fr-FR" sz="1500" dirty="0">
                <a:solidFill>
                  <a:schemeClr val="dk1"/>
                </a:solidFill>
                <a:ea typeface="Verdana"/>
              </a:rPr>
              <a:t>Mikael</a:t>
            </a:r>
            <a:r>
              <a:rPr lang="fr-FR" sz="1500" dirty="0">
                <a:ea typeface="Verdana"/>
              </a:rPr>
              <a:t> </a:t>
            </a:r>
            <a:r>
              <a:rPr lang="fr-FR" sz="1500" dirty="0">
                <a:solidFill>
                  <a:schemeClr val="dk1"/>
                </a:solidFill>
                <a:ea typeface="Verdana"/>
              </a:rPr>
              <a:t>DE CONINCK </a:t>
            </a:r>
          </a:p>
        </p:txBody>
      </p:sp>
      <p:sp>
        <p:nvSpPr>
          <p:cNvPr id="17" name="Espace réservé du texte 46">
            <a:extLst>
              <a:ext uri="{FF2B5EF4-FFF2-40B4-BE49-F238E27FC236}">
                <a16:creationId xmlns:a16="http://schemas.microsoft.com/office/drawing/2014/main" id="{3E6CCAE8-7618-43AD-9807-300B07A64376}"/>
              </a:ext>
            </a:extLst>
          </p:cNvPr>
          <p:cNvSpPr txBox="1">
            <a:spLocks/>
          </p:cNvSpPr>
          <p:nvPr/>
        </p:nvSpPr>
        <p:spPr>
          <a:xfrm>
            <a:off x="7083301" y="5839603"/>
            <a:ext cx="2587426" cy="248579"/>
          </a:xfrm>
          <a:prstGeom prst="rect">
            <a:avLst/>
          </a:prstGeom>
        </p:spPr>
        <p:txBody>
          <a:bodyPr vert="horz" wrap="square" lIns="0" tIns="14400" rIns="0" bIns="0" rtlCol="0" anchor="b">
            <a:spAutoFit/>
          </a:bodyPr>
          <a:lstStyle>
            <a:lvl1pPr marL="8775" algn="l">
              <a:lnSpc>
                <a:spcPct val="110000"/>
              </a:lnSpc>
              <a:spcBef>
                <a:spcPts val="61"/>
              </a:spcBef>
              <a:spcAft>
                <a:spcPts val="378"/>
              </a:spcAft>
              <a:defRPr sz="1524" b="0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792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pPr marL="8255"/>
            <a:r>
              <a:rPr lang="fr-FR" sz="1500" dirty="0">
                <a:ea typeface="Verdana"/>
              </a:rPr>
              <a:t>Stéphane De </a:t>
            </a:r>
            <a:r>
              <a:rPr lang="fr-FR" sz="1500" dirty="0" err="1">
                <a:ea typeface="Verdana"/>
              </a:rPr>
              <a:t>Geitere</a:t>
            </a:r>
            <a:endParaRPr lang="fr-FR" dirty="0" err="1">
              <a:ea typeface="Verdana"/>
            </a:endParaRPr>
          </a:p>
        </p:txBody>
      </p:sp>
      <p:sp>
        <p:nvSpPr>
          <p:cNvPr id="18" name="Espace réservé du texte 46">
            <a:extLst>
              <a:ext uri="{FF2B5EF4-FFF2-40B4-BE49-F238E27FC236}">
                <a16:creationId xmlns:a16="http://schemas.microsoft.com/office/drawing/2014/main" id="{7AD67278-8626-4F4E-99FF-D037C29DDFA4}"/>
              </a:ext>
            </a:extLst>
          </p:cNvPr>
          <p:cNvSpPr txBox="1">
            <a:spLocks/>
          </p:cNvSpPr>
          <p:nvPr/>
        </p:nvSpPr>
        <p:spPr>
          <a:xfrm>
            <a:off x="7083598" y="4318542"/>
            <a:ext cx="2587426" cy="244860"/>
          </a:xfrm>
          <a:prstGeom prst="rect">
            <a:avLst/>
          </a:prstGeom>
        </p:spPr>
        <p:txBody>
          <a:bodyPr vert="horz" wrap="square" lIns="0" tIns="14400" rIns="0" bIns="0" rtlCol="0" anchor="b">
            <a:spAutoFit/>
          </a:bodyPr>
          <a:lstStyle>
            <a:lvl1pPr marL="8775" algn="l">
              <a:lnSpc>
                <a:spcPct val="110000"/>
              </a:lnSpc>
              <a:spcBef>
                <a:spcPts val="61"/>
              </a:spcBef>
              <a:spcAft>
                <a:spcPts val="378"/>
              </a:spcAft>
              <a:defRPr sz="1524" b="0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792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pPr marL="8255"/>
            <a:r>
              <a:rPr lang="fr-FR" sz="1500" dirty="0">
                <a:ea typeface="Verdana"/>
              </a:rPr>
              <a:t>Laurent </a:t>
            </a:r>
            <a:r>
              <a:rPr lang="fr-FR" sz="1500" dirty="0">
                <a:solidFill>
                  <a:schemeClr val="dk1"/>
                </a:solidFill>
                <a:ea typeface="Verdana"/>
              </a:rPr>
              <a:t>NAVARRO   </a:t>
            </a:r>
            <a:endParaRPr lang="fr-FR" dirty="0">
              <a:solidFill>
                <a:schemeClr val="dk1"/>
              </a:solidFill>
              <a:ea typeface="Verdana"/>
            </a:endParaRPr>
          </a:p>
        </p:txBody>
      </p:sp>
      <p:sp>
        <p:nvSpPr>
          <p:cNvPr id="19" name="Espace réservé du texte 46">
            <a:extLst>
              <a:ext uri="{FF2B5EF4-FFF2-40B4-BE49-F238E27FC236}">
                <a16:creationId xmlns:a16="http://schemas.microsoft.com/office/drawing/2014/main" id="{18C3B4C5-E73C-443D-B4C4-18CCBE3334A6}"/>
              </a:ext>
            </a:extLst>
          </p:cNvPr>
          <p:cNvSpPr txBox="1">
            <a:spLocks/>
          </p:cNvSpPr>
          <p:nvPr/>
        </p:nvSpPr>
        <p:spPr>
          <a:xfrm>
            <a:off x="6946195" y="2714732"/>
            <a:ext cx="2587426" cy="244860"/>
          </a:xfrm>
          <a:prstGeom prst="rect">
            <a:avLst/>
          </a:prstGeom>
        </p:spPr>
        <p:txBody>
          <a:bodyPr vert="horz" wrap="square" lIns="0" tIns="14400" rIns="0" bIns="0" rtlCol="0" anchor="b">
            <a:spAutoFit/>
          </a:bodyPr>
          <a:lstStyle>
            <a:lvl1pPr marL="8775" algn="l">
              <a:lnSpc>
                <a:spcPct val="110000"/>
              </a:lnSpc>
              <a:spcBef>
                <a:spcPts val="61"/>
              </a:spcBef>
              <a:spcAft>
                <a:spcPts val="378"/>
              </a:spcAft>
              <a:defRPr sz="1524" b="0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792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pPr marL="8255"/>
            <a:r>
              <a:rPr lang="fr-FR" sz="1500" dirty="0">
                <a:ea typeface="Verdana"/>
              </a:rPr>
              <a:t>Anass </a:t>
            </a:r>
            <a:r>
              <a:rPr lang="fr-FR" sz="1500" dirty="0">
                <a:solidFill>
                  <a:schemeClr val="dk1"/>
                </a:solidFill>
                <a:ea typeface="Verdana"/>
              </a:rPr>
              <a:t>MASAOUDI </a:t>
            </a:r>
            <a:endParaRPr lang="fr-FR" dirty="0">
              <a:solidFill>
                <a:schemeClr val="dk1"/>
              </a:solidFill>
              <a:ea typeface="Verdana"/>
            </a:endParaRPr>
          </a:p>
        </p:txBody>
      </p:sp>
      <p:sp>
        <p:nvSpPr>
          <p:cNvPr id="21" name="Espace réservé du texte 45">
            <a:extLst>
              <a:ext uri="{FF2B5EF4-FFF2-40B4-BE49-F238E27FC236}">
                <a16:creationId xmlns:a16="http://schemas.microsoft.com/office/drawing/2014/main" id="{91280E38-809F-475B-B942-184467B00A7A}"/>
              </a:ext>
            </a:extLst>
          </p:cNvPr>
          <p:cNvSpPr txBox="1">
            <a:spLocks/>
          </p:cNvSpPr>
          <p:nvPr/>
        </p:nvSpPr>
        <p:spPr>
          <a:xfrm>
            <a:off x="1394601" y="2715993"/>
            <a:ext cx="433388" cy="673892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205200" rIns="0" bIns="0" rtlCol="0" anchor="t">
            <a:noAutofit/>
          </a:bodyPr>
          <a:lstStyle>
            <a:lvl1pPr marL="0" algn="ctr">
              <a:lnSpc>
                <a:spcPct val="110000"/>
              </a:lnSpc>
              <a:spcBef>
                <a:spcPts val="981"/>
              </a:spcBef>
              <a:spcAft>
                <a:spcPts val="378"/>
              </a:spcAft>
              <a:defRPr sz="1463" b="1" kern="1200" spc="-61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3pPr>
            <a:lvl4pPr marL="175507" indent="-131630" algn="ctr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4pPr>
            <a:lvl5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50" dirty="0" err="1">
                <a:ea typeface="Verdana"/>
              </a:rPr>
              <a:t>DeV</a:t>
            </a:r>
            <a:endParaRPr lang="fr-FR" sz="1450">
              <a:ea typeface="Verdana"/>
            </a:endParaRPr>
          </a:p>
          <a:p>
            <a:endParaRPr lang="fr-FR" sz="1450" dirty="0">
              <a:ea typeface="Verdana"/>
            </a:endParaRPr>
          </a:p>
        </p:txBody>
      </p:sp>
      <p:sp>
        <p:nvSpPr>
          <p:cNvPr id="98" name="Espace réservé du texte 45">
            <a:extLst>
              <a:ext uri="{FF2B5EF4-FFF2-40B4-BE49-F238E27FC236}">
                <a16:creationId xmlns:a16="http://schemas.microsoft.com/office/drawing/2014/main" id="{8858394A-F7B9-429C-9BC3-F98758914742}"/>
              </a:ext>
            </a:extLst>
          </p:cNvPr>
          <p:cNvSpPr txBox="1">
            <a:spLocks/>
          </p:cNvSpPr>
          <p:nvPr/>
        </p:nvSpPr>
        <p:spPr>
          <a:xfrm>
            <a:off x="1394449" y="4103398"/>
            <a:ext cx="433388" cy="673892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205200" rIns="0" bIns="0" rtlCol="0" anchor="t">
            <a:noAutofit/>
          </a:bodyPr>
          <a:lstStyle>
            <a:lvl1pPr marL="0" algn="ctr">
              <a:lnSpc>
                <a:spcPct val="110000"/>
              </a:lnSpc>
              <a:spcBef>
                <a:spcPts val="981"/>
              </a:spcBef>
              <a:spcAft>
                <a:spcPts val="378"/>
              </a:spcAft>
              <a:defRPr sz="1463" b="1" kern="1200" spc="-61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3pPr>
            <a:lvl4pPr marL="175507" indent="-131630" algn="ctr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4pPr>
            <a:lvl5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50" dirty="0" err="1">
                <a:ea typeface="Verdana"/>
              </a:rPr>
              <a:t>DeV</a:t>
            </a:r>
            <a:endParaRPr lang="fr-FR" sz="1450">
              <a:ea typeface="Verdana"/>
            </a:endParaRPr>
          </a:p>
          <a:p>
            <a:endParaRPr lang="fr-FR" sz="1450" dirty="0">
              <a:ea typeface="Verdana"/>
            </a:endParaRPr>
          </a:p>
        </p:txBody>
      </p:sp>
      <p:sp>
        <p:nvSpPr>
          <p:cNvPr id="99" name="Espace réservé du texte 45">
            <a:extLst>
              <a:ext uri="{FF2B5EF4-FFF2-40B4-BE49-F238E27FC236}">
                <a16:creationId xmlns:a16="http://schemas.microsoft.com/office/drawing/2014/main" id="{2E9F02C1-4ADA-4B20-9994-7F3B819AD4FC}"/>
              </a:ext>
            </a:extLst>
          </p:cNvPr>
          <p:cNvSpPr txBox="1">
            <a:spLocks/>
          </p:cNvSpPr>
          <p:nvPr/>
        </p:nvSpPr>
        <p:spPr>
          <a:xfrm>
            <a:off x="1438345" y="5578615"/>
            <a:ext cx="433388" cy="673892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205200" rIns="0" bIns="0" rtlCol="0" anchor="t">
            <a:noAutofit/>
          </a:bodyPr>
          <a:lstStyle>
            <a:lvl1pPr marL="0" algn="ctr">
              <a:lnSpc>
                <a:spcPct val="110000"/>
              </a:lnSpc>
              <a:spcBef>
                <a:spcPts val="981"/>
              </a:spcBef>
              <a:spcAft>
                <a:spcPts val="378"/>
              </a:spcAft>
              <a:defRPr sz="1463" b="1" kern="1200" spc="-61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3pPr>
            <a:lvl4pPr marL="175507" indent="-131630" algn="ctr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4pPr>
            <a:lvl5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50" dirty="0" err="1">
                <a:ea typeface="Verdana"/>
              </a:rPr>
              <a:t>DeV</a:t>
            </a:r>
            <a:endParaRPr lang="fr-FR" sz="1450">
              <a:ea typeface="Verdana"/>
            </a:endParaRPr>
          </a:p>
          <a:p>
            <a:endParaRPr lang="fr-FR" sz="1450" dirty="0">
              <a:ea typeface="Verdana"/>
            </a:endParaRPr>
          </a:p>
        </p:txBody>
      </p:sp>
      <p:sp>
        <p:nvSpPr>
          <p:cNvPr id="100" name="Espace réservé du texte 45">
            <a:extLst>
              <a:ext uri="{FF2B5EF4-FFF2-40B4-BE49-F238E27FC236}">
                <a16:creationId xmlns:a16="http://schemas.microsoft.com/office/drawing/2014/main" id="{5F2978CB-B9A2-43FE-A602-5A0DE5793EBB}"/>
              </a:ext>
            </a:extLst>
          </p:cNvPr>
          <p:cNvSpPr txBox="1">
            <a:spLocks/>
          </p:cNvSpPr>
          <p:nvPr/>
        </p:nvSpPr>
        <p:spPr>
          <a:xfrm>
            <a:off x="6364986" y="2496466"/>
            <a:ext cx="433388" cy="673892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205200" rIns="0" bIns="0" rtlCol="0" anchor="t">
            <a:noAutofit/>
          </a:bodyPr>
          <a:lstStyle>
            <a:lvl1pPr marL="0" algn="ctr">
              <a:lnSpc>
                <a:spcPct val="110000"/>
              </a:lnSpc>
              <a:spcBef>
                <a:spcPts val="981"/>
              </a:spcBef>
              <a:spcAft>
                <a:spcPts val="378"/>
              </a:spcAft>
              <a:defRPr sz="1463" b="1" kern="1200" spc="-61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3pPr>
            <a:lvl4pPr marL="175507" indent="-131630" algn="ctr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4pPr>
            <a:lvl5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50" dirty="0" err="1">
                <a:ea typeface="Verdana"/>
              </a:rPr>
              <a:t>DeV</a:t>
            </a:r>
            <a:endParaRPr lang="fr-FR" sz="1450">
              <a:ea typeface="Verdana"/>
            </a:endParaRPr>
          </a:p>
          <a:p>
            <a:endParaRPr lang="fr-FR" sz="1450" dirty="0">
              <a:ea typeface="Verdana"/>
            </a:endParaRPr>
          </a:p>
        </p:txBody>
      </p:sp>
      <p:sp>
        <p:nvSpPr>
          <p:cNvPr id="101" name="Espace réservé du texte 45">
            <a:extLst>
              <a:ext uri="{FF2B5EF4-FFF2-40B4-BE49-F238E27FC236}">
                <a16:creationId xmlns:a16="http://schemas.microsoft.com/office/drawing/2014/main" id="{11147CF7-0731-481D-A282-7109148B9678}"/>
              </a:ext>
            </a:extLst>
          </p:cNvPr>
          <p:cNvSpPr txBox="1">
            <a:spLocks/>
          </p:cNvSpPr>
          <p:nvPr/>
        </p:nvSpPr>
        <p:spPr>
          <a:xfrm>
            <a:off x="6364971" y="4103399"/>
            <a:ext cx="433388" cy="673892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205200" rIns="0" bIns="0" rtlCol="0" anchor="t">
            <a:noAutofit/>
          </a:bodyPr>
          <a:lstStyle>
            <a:lvl1pPr marL="0" algn="ctr">
              <a:lnSpc>
                <a:spcPct val="110000"/>
              </a:lnSpc>
              <a:spcBef>
                <a:spcPts val="981"/>
              </a:spcBef>
              <a:spcAft>
                <a:spcPts val="378"/>
              </a:spcAft>
              <a:defRPr sz="1463" b="1" kern="1200" spc="-61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3pPr>
            <a:lvl4pPr marL="175507" indent="-131630" algn="ctr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4pPr>
            <a:lvl5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50" dirty="0" err="1">
                <a:ea typeface="Verdana"/>
              </a:rPr>
              <a:t>DeV</a:t>
            </a:r>
            <a:endParaRPr lang="fr-FR" sz="1450">
              <a:ea typeface="Verdana"/>
            </a:endParaRPr>
          </a:p>
          <a:p>
            <a:endParaRPr lang="fr-FR" sz="1450" dirty="0">
              <a:ea typeface="Verdana"/>
            </a:endParaRPr>
          </a:p>
        </p:txBody>
      </p:sp>
      <p:sp>
        <p:nvSpPr>
          <p:cNvPr id="102" name="Espace réservé du texte 45">
            <a:extLst>
              <a:ext uri="{FF2B5EF4-FFF2-40B4-BE49-F238E27FC236}">
                <a16:creationId xmlns:a16="http://schemas.microsoft.com/office/drawing/2014/main" id="{7E920D04-024E-4330-8C43-D2970DDDC71C}"/>
              </a:ext>
            </a:extLst>
          </p:cNvPr>
          <p:cNvSpPr txBox="1">
            <a:spLocks/>
          </p:cNvSpPr>
          <p:nvPr/>
        </p:nvSpPr>
        <p:spPr>
          <a:xfrm>
            <a:off x="6364844" y="5596176"/>
            <a:ext cx="433388" cy="673892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205200" rIns="0" bIns="0" rtlCol="0" anchor="t">
            <a:noAutofit/>
          </a:bodyPr>
          <a:lstStyle>
            <a:lvl1pPr marL="0" algn="ctr">
              <a:lnSpc>
                <a:spcPct val="110000"/>
              </a:lnSpc>
              <a:spcBef>
                <a:spcPts val="981"/>
              </a:spcBef>
              <a:spcAft>
                <a:spcPts val="378"/>
              </a:spcAft>
              <a:defRPr sz="1463" b="1" kern="1200" spc="-61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3pPr>
            <a:lvl4pPr marL="175507" indent="-131630" algn="ctr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4pPr>
            <a:lvl5pPr marL="0" algn="ctr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7" indent="-131630" algn="l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94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50" dirty="0" err="1">
                <a:ea typeface="Verdana"/>
              </a:rPr>
              <a:t>DeV</a:t>
            </a:r>
            <a:endParaRPr lang="fr-FR" sz="1450">
              <a:ea typeface="Verdana"/>
            </a:endParaRPr>
          </a:p>
          <a:p>
            <a:endParaRPr lang="fr-FR" sz="1450" dirty="0"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193628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00292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321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Organisation DSO AVV et INDUS V3">
  <a:themeElements>
    <a:clrScheme name="Personnalisé 1">
      <a:dk1>
        <a:srgbClr val="303F48"/>
      </a:dk1>
      <a:lt1>
        <a:srgbClr val="FFFFFF"/>
      </a:lt1>
      <a:dk2>
        <a:srgbClr val="242424"/>
      </a:dk2>
      <a:lt2>
        <a:srgbClr val="5C5C5C"/>
      </a:lt2>
      <a:accent1>
        <a:srgbClr val="F57100"/>
      </a:accent1>
      <a:accent2>
        <a:srgbClr val="FFB04C"/>
      </a:accent2>
      <a:accent3>
        <a:srgbClr val="579696"/>
      </a:accent3>
      <a:accent4>
        <a:srgbClr val="303F48"/>
      </a:accent4>
      <a:accent5>
        <a:srgbClr val="C00000"/>
      </a:accent5>
      <a:accent6>
        <a:srgbClr val="FF5800"/>
      </a:accent6>
      <a:hlink>
        <a:srgbClr val="00ACED"/>
      </a:hlink>
      <a:folHlink>
        <a:srgbClr val="FFB04C"/>
      </a:folHlink>
    </a:clrScheme>
    <a:fontScheme name="Thèm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NETUM">
  <a:themeElements>
    <a:clrScheme name="Custom 7">
      <a:dk1>
        <a:sysClr val="windowText" lastClr="000000"/>
      </a:dk1>
      <a:lt1>
        <a:sysClr val="window" lastClr="FFFFFF"/>
      </a:lt1>
      <a:dk2>
        <a:srgbClr val="222C4A"/>
      </a:dk2>
      <a:lt2>
        <a:srgbClr val="EDEDED"/>
      </a:lt2>
      <a:accent1>
        <a:srgbClr val="00AA9B"/>
      </a:accent1>
      <a:accent2>
        <a:srgbClr val="EF4641"/>
      </a:accent2>
      <a:accent3>
        <a:srgbClr val="005473"/>
      </a:accent3>
      <a:accent4>
        <a:srgbClr val="8064A2"/>
      </a:accent4>
      <a:accent5>
        <a:srgbClr val="4BACC6"/>
      </a:accent5>
      <a:accent6>
        <a:srgbClr val="F79646"/>
      </a:accent6>
      <a:hlink>
        <a:srgbClr val="EF4641"/>
      </a:hlink>
      <a:folHlink>
        <a:srgbClr val="EF4641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INETUM">
  <a:themeElements>
    <a:clrScheme name="Custom 7">
      <a:dk1>
        <a:sysClr val="windowText" lastClr="000000"/>
      </a:dk1>
      <a:lt1>
        <a:sysClr val="window" lastClr="FFFFFF"/>
      </a:lt1>
      <a:dk2>
        <a:srgbClr val="222C4A"/>
      </a:dk2>
      <a:lt2>
        <a:srgbClr val="EDEDED"/>
      </a:lt2>
      <a:accent1>
        <a:srgbClr val="00AA9B"/>
      </a:accent1>
      <a:accent2>
        <a:srgbClr val="EF4641"/>
      </a:accent2>
      <a:accent3>
        <a:srgbClr val="005473"/>
      </a:accent3>
      <a:accent4>
        <a:srgbClr val="8064A2"/>
      </a:accent4>
      <a:accent5>
        <a:srgbClr val="4BACC6"/>
      </a:accent5>
      <a:accent6>
        <a:srgbClr val="F79646"/>
      </a:accent6>
      <a:hlink>
        <a:srgbClr val="EF4641"/>
      </a:hlink>
      <a:folHlink>
        <a:srgbClr val="EF4641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INETUM">
  <a:themeElements>
    <a:clrScheme name="Custom 7">
      <a:dk1>
        <a:sysClr val="windowText" lastClr="000000"/>
      </a:dk1>
      <a:lt1>
        <a:sysClr val="window" lastClr="FFFFFF"/>
      </a:lt1>
      <a:dk2>
        <a:srgbClr val="222C4A"/>
      </a:dk2>
      <a:lt2>
        <a:srgbClr val="EDEDED"/>
      </a:lt2>
      <a:accent1>
        <a:srgbClr val="00AA9B"/>
      </a:accent1>
      <a:accent2>
        <a:srgbClr val="EF4641"/>
      </a:accent2>
      <a:accent3>
        <a:srgbClr val="005473"/>
      </a:accent3>
      <a:accent4>
        <a:srgbClr val="8064A2"/>
      </a:accent4>
      <a:accent5>
        <a:srgbClr val="4BACC6"/>
      </a:accent5>
      <a:accent6>
        <a:srgbClr val="F79646"/>
      </a:accent6>
      <a:hlink>
        <a:srgbClr val="EF4641"/>
      </a:hlink>
      <a:folHlink>
        <a:srgbClr val="EF4641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INETUM">
  <a:themeElements>
    <a:clrScheme name="Custom 7">
      <a:dk1>
        <a:sysClr val="windowText" lastClr="000000"/>
      </a:dk1>
      <a:lt1>
        <a:sysClr val="window" lastClr="FFFFFF"/>
      </a:lt1>
      <a:dk2>
        <a:srgbClr val="222C4A"/>
      </a:dk2>
      <a:lt2>
        <a:srgbClr val="EDEDED"/>
      </a:lt2>
      <a:accent1>
        <a:srgbClr val="00AA9B"/>
      </a:accent1>
      <a:accent2>
        <a:srgbClr val="EF4641"/>
      </a:accent2>
      <a:accent3>
        <a:srgbClr val="005473"/>
      </a:accent3>
      <a:accent4>
        <a:srgbClr val="8064A2"/>
      </a:accent4>
      <a:accent5>
        <a:srgbClr val="4BACC6"/>
      </a:accent5>
      <a:accent6>
        <a:srgbClr val="F79646"/>
      </a:accent6>
      <a:hlink>
        <a:srgbClr val="EF4641"/>
      </a:hlink>
      <a:folHlink>
        <a:srgbClr val="EF4641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9b03830-5364-428d-bcb4-8f0273384e3e">
      <UserInfo>
        <DisplayName/>
        <AccountId xsi:nil="true"/>
        <AccountType/>
      </UserInfo>
    </SharedWithUsers>
    <lcf76f155ced4ddcb4097134ff3c332f xmlns="0080b14c-e694-4d3d-b923-78c37d01f8ea">
      <Terms xmlns="http://schemas.microsoft.com/office/infopath/2007/PartnerControls"/>
    </lcf76f155ced4ddcb4097134ff3c332f>
    <TaxCatchAll xmlns="d65a72c7-7e11-44a4-8e3c-315ae3158d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F1A3114A48C843BF13F4DF3916E5DC" ma:contentTypeVersion="16" ma:contentTypeDescription="Crée un document." ma:contentTypeScope="" ma:versionID="4755d9cefebb30b893345e3fd665ce05">
  <xsd:schema xmlns:xsd="http://www.w3.org/2001/XMLSchema" xmlns:xs="http://www.w3.org/2001/XMLSchema" xmlns:p="http://schemas.microsoft.com/office/2006/metadata/properties" xmlns:ns2="0080b14c-e694-4d3d-b923-78c37d01f8ea" xmlns:ns3="69b03830-5364-428d-bcb4-8f0273384e3e" xmlns:ns4="d65a72c7-7e11-44a4-8e3c-315ae3158d34" targetNamespace="http://schemas.microsoft.com/office/2006/metadata/properties" ma:root="true" ma:fieldsID="1b49e0e514859102363cbc34710d2b78" ns2:_="" ns3:_="" ns4:_="">
    <xsd:import namespace="0080b14c-e694-4d3d-b923-78c37d01f8ea"/>
    <xsd:import namespace="69b03830-5364-428d-bcb4-8f0273384e3e"/>
    <xsd:import namespace="d65a72c7-7e11-44a4-8e3c-315ae3158d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LengthInSecond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80b14c-e694-4d3d-b923-78c37d01f8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dece1a9e-e829-42a2-80ca-4303f8678d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03830-5364-428d-bcb4-8f0273384e3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5a72c7-7e11-44a4-8e3c-315ae3158d34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5c8990a-54d1-4e1e-a979-849856e11e93}" ma:internalName="TaxCatchAll" ma:showField="CatchAllData" ma:web="69b03830-5364-428d-bcb4-8f0273384e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0823C4-8115-42D1-AEB0-1F2EBF78568B}">
  <ds:schemaRefs>
    <ds:schemaRef ds:uri="http://schemas.microsoft.com/office/2006/metadata/properties"/>
    <ds:schemaRef ds:uri="http://schemas.microsoft.com/office/infopath/2007/PartnerControls"/>
    <ds:schemaRef ds:uri="69b03830-5364-428d-bcb4-8f0273384e3e"/>
    <ds:schemaRef ds:uri="0080b14c-e694-4d3d-b923-78c37d01f8ea"/>
    <ds:schemaRef ds:uri="d65a72c7-7e11-44a4-8e3c-315ae3158d34"/>
  </ds:schemaRefs>
</ds:datastoreItem>
</file>

<file path=customXml/itemProps2.xml><?xml version="1.0" encoding="utf-8"?>
<ds:datastoreItem xmlns:ds="http://schemas.openxmlformats.org/officeDocument/2006/customXml" ds:itemID="{E0291EE3-D1F6-4548-B817-28D936DF07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080b14c-e694-4d3d-b923-78c37d01f8ea"/>
    <ds:schemaRef ds:uri="69b03830-5364-428d-bcb4-8f0273384e3e"/>
    <ds:schemaRef ds:uri="d65a72c7-7e11-44a4-8e3c-315ae3158d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943F408-0C35-4C68-992E-47560AEC89D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rganisation DSO AVV et INDUS V3</Template>
  <TotalTime>0</TotalTime>
  <Words>472</Words>
  <Application>Microsoft Office PowerPoint</Application>
  <PresentationFormat>Format A4 (210 x 297 mm)</PresentationFormat>
  <Paragraphs>247</Paragraphs>
  <Slides>7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20" baseType="lpstr">
      <vt:lpstr>Arial</vt:lpstr>
      <vt:lpstr>Calibri</vt:lpstr>
      <vt:lpstr>Lucida Grande</vt:lpstr>
      <vt:lpstr>Myriad Pro</vt:lpstr>
      <vt:lpstr>Poppins</vt:lpstr>
      <vt:lpstr>Verdana</vt:lpstr>
      <vt:lpstr>Wingdings</vt:lpstr>
      <vt:lpstr>Organisation DSO AVV et INDUS V3</vt:lpstr>
      <vt:lpstr>1_INETUM</vt:lpstr>
      <vt:lpstr>1_INETUM</vt:lpstr>
      <vt:lpstr>1_INETUM</vt:lpstr>
      <vt:lpstr>1_INETUM</vt:lpstr>
      <vt:lpstr>think-cell Slide</vt:lpstr>
      <vt:lpstr>Organigramme TMA SQUAD 3</vt:lpstr>
      <vt:lpstr>Organisation Inetum</vt:lpstr>
      <vt:lpstr>Organisation Inetum</vt:lpstr>
      <vt:lpstr>Focus Squad 3</vt:lpstr>
      <vt:lpstr>SQUAD 3 </vt:lpstr>
      <vt:lpstr>Présentation PowerPoint</vt:lpstr>
      <vt:lpstr>Présentation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gramme TMA</dc:title>
  <dc:subject>Masque PowerPoint Gfi 2017</dc:subject>
  <dc:creator>cedric.delrue@gfi.fr</dc:creator>
  <cp:keywords>Masque; Modèle</cp:keywords>
  <cp:lastModifiedBy>Romatet Mathieu</cp:lastModifiedBy>
  <cp:revision>362</cp:revision>
  <cp:lastPrinted>2017-01-24T17:37:38Z</cp:lastPrinted>
  <dcterms:created xsi:type="dcterms:W3CDTF">2017-09-04T14:23:47Z</dcterms:created>
  <dcterms:modified xsi:type="dcterms:W3CDTF">2022-08-08T09:0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F1A3114A48C843BF13F4DF3916E5DC</vt:lpwstr>
  </property>
  <property fmtid="{D5CDD505-2E9C-101B-9397-08002B2CF9AE}" pid="3" name="MSIP_Label_2fe6cd30-f34f-40ac-8b4a-f43ba5471208_Enabled">
    <vt:lpwstr>true</vt:lpwstr>
  </property>
  <property fmtid="{D5CDD505-2E9C-101B-9397-08002B2CF9AE}" pid="4" name="MSIP_Label_2fe6cd30-f34f-40ac-8b4a-f43ba5471208_SetDate">
    <vt:lpwstr>2022-02-11T11:16:53Z</vt:lpwstr>
  </property>
  <property fmtid="{D5CDD505-2E9C-101B-9397-08002B2CF9AE}" pid="5" name="MSIP_Label_2fe6cd30-f34f-40ac-8b4a-f43ba5471208_Method">
    <vt:lpwstr>Privileged</vt:lpwstr>
  </property>
  <property fmtid="{D5CDD505-2E9C-101B-9397-08002B2CF9AE}" pid="6" name="MSIP_Label_2fe6cd30-f34f-40ac-8b4a-f43ba5471208_Name">
    <vt:lpwstr>Personal</vt:lpwstr>
  </property>
  <property fmtid="{D5CDD505-2E9C-101B-9397-08002B2CF9AE}" pid="7" name="MSIP_Label_2fe6cd30-f34f-40ac-8b4a-f43ba5471208_SiteId">
    <vt:lpwstr>14cb4ab4-62b8-45a2-a944-e225383ee1f9</vt:lpwstr>
  </property>
  <property fmtid="{D5CDD505-2E9C-101B-9397-08002B2CF9AE}" pid="8" name="MSIP_Label_2fe6cd30-f34f-40ac-8b4a-f43ba5471208_ActionId">
    <vt:lpwstr>902329da-6488-4384-9992-38ce9dc7c9e8</vt:lpwstr>
  </property>
  <property fmtid="{D5CDD505-2E9C-101B-9397-08002B2CF9AE}" pid="9" name="MSIP_Label_2fe6cd30-f34f-40ac-8b4a-f43ba5471208_ContentBits">
    <vt:lpwstr>0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</Properties>
</file>